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tags/tag6.xml" ContentType="application/vnd.openxmlformats-officedocument.presentationml.tags+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ags/tag7.xml" ContentType="application/vnd.openxmlformats-officedocument.presentationml.tags+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handoutMasterIdLst>
    <p:handoutMasterId r:id="rId15"/>
  </p:handoutMasterIdLst>
  <p:sldIdLst>
    <p:sldId id="256" r:id="rId2"/>
    <p:sldId id="258" r:id="rId3"/>
    <p:sldId id="259" r:id="rId4"/>
    <p:sldId id="261" r:id="rId5"/>
    <p:sldId id="262" r:id="rId6"/>
    <p:sldId id="274" r:id="rId7"/>
    <p:sldId id="264" r:id="rId8"/>
    <p:sldId id="272" r:id="rId9"/>
    <p:sldId id="273" r:id="rId10"/>
    <p:sldId id="268" r:id="rId11"/>
    <p:sldId id="269" r:id="rId12"/>
    <p:sldId id="275" r:id="rId13"/>
  </p:sldIdLst>
  <p:sldSz cx="12192000" cy="6858000"/>
  <p:notesSz cx="9144000" cy="6858000"/>
  <p:custDataLst>
    <p:tags r:id="rId16"/>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F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983524-EBAA-4C85-82B0-1D8A51B3C262}" v="16" dt="2022-12-15T09:18:52.7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04" autoAdjust="0"/>
    <p:restoredTop sz="94660"/>
  </p:normalViewPr>
  <p:slideViewPr>
    <p:cSldViewPr snapToGrid="0">
      <p:cViewPr varScale="1">
        <p:scale>
          <a:sx n="81" d="100"/>
          <a:sy n="81" d="100"/>
        </p:scale>
        <p:origin x="744" y="62"/>
      </p:cViewPr>
      <p:guideLst>
        <p:guide orient="horz" pos="2160"/>
        <p:guide pos="3840"/>
      </p:guideLst>
    </p:cSldViewPr>
  </p:slideViewPr>
  <p:notesTextViewPr>
    <p:cViewPr>
      <p:scale>
        <a:sx n="1" d="1"/>
        <a:sy n="1" d="1"/>
      </p:scale>
      <p:origin x="0" y="0"/>
    </p:cViewPr>
  </p:notesTextViewPr>
  <p:notesViewPr>
    <p:cSldViewPr snapToGrid="0">
      <p:cViewPr varScale="1">
        <p:scale>
          <a:sx n="86" d="100"/>
          <a:sy n="86" d="100"/>
        </p:scale>
        <p:origin x="2088" y="5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ttore Minelli" userId="7870a1ad-01cf-4239-8cce-750deae7f4ef" providerId="ADAL" clId="{D5085ABD-D722-4CB6-A6FB-9B8A3461E949}"/>
    <pc:docChg chg="undo custSel addSld delSld modSld sldOrd modMainMaster addSection modSection replTag modNotesMaster modHandout">
      <pc:chgData name="Ettore Minelli" userId="7870a1ad-01cf-4239-8cce-750deae7f4ef" providerId="ADAL" clId="{D5085ABD-D722-4CB6-A6FB-9B8A3461E949}" dt="2022-12-13T13:08:33.470" v="9106" actId="20577"/>
      <pc:docMkLst>
        <pc:docMk/>
      </pc:docMkLst>
      <pc:sldChg chg="addSp delSp modSp new add mod">
        <pc:chgData name="Ettore Minelli" userId="7870a1ad-01cf-4239-8cce-750deae7f4ef" providerId="ADAL" clId="{D5085ABD-D722-4CB6-A6FB-9B8A3461E949}" dt="2022-12-09T19:14:12.567" v="6407" actId="20577"/>
        <pc:sldMkLst>
          <pc:docMk/>
          <pc:sldMk cId="170408520" sldId="256"/>
        </pc:sldMkLst>
        <pc:spChg chg="add del">
          <ac:chgData name="Ettore Minelli" userId="7870a1ad-01cf-4239-8cce-750deae7f4ef" providerId="ADAL" clId="{D5085ABD-D722-4CB6-A6FB-9B8A3461E949}" dt="2022-12-03T12:05:30.389" v="782" actId="478"/>
          <ac:spMkLst>
            <pc:docMk/>
            <pc:sldMk cId="170408520" sldId="256"/>
            <ac:spMk id="2" creationId="{2EDD7D82-227F-4DE6-8AA4-AF5CE4A7C7C1}"/>
          </ac:spMkLst>
        </pc:spChg>
        <pc:spChg chg="del mod">
          <ac:chgData name="Ettore Minelli" userId="7870a1ad-01cf-4239-8cce-750deae7f4ef" providerId="ADAL" clId="{D5085ABD-D722-4CB6-A6FB-9B8A3461E949}" dt="2022-12-03T11:05:50.806" v="3" actId="478"/>
          <ac:spMkLst>
            <pc:docMk/>
            <pc:sldMk cId="170408520" sldId="256"/>
            <ac:spMk id="2" creationId="{94DE0829-7B04-405C-A5EE-00CDB90241AE}"/>
          </ac:spMkLst>
        </pc:spChg>
        <pc:spChg chg="del">
          <ac:chgData name="Ettore Minelli" userId="7870a1ad-01cf-4239-8cce-750deae7f4ef" providerId="ADAL" clId="{D5085ABD-D722-4CB6-A6FB-9B8A3461E949}" dt="2022-12-03T11:05:52.860" v="77" actId="478"/>
          <ac:spMkLst>
            <pc:docMk/>
            <pc:sldMk cId="170408520" sldId="256"/>
            <ac:spMk id="3" creationId="{1705FC2F-6926-4A86-87BF-49F137413214}"/>
          </ac:spMkLst>
        </pc:spChg>
        <pc:spChg chg="add del mod">
          <ac:chgData name="Ettore Minelli" userId="7870a1ad-01cf-4239-8cce-750deae7f4ef" providerId="ADAL" clId="{D5085ABD-D722-4CB6-A6FB-9B8A3461E949}" dt="2022-12-03T12:10:26.905" v="800"/>
          <ac:spMkLst>
            <pc:docMk/>
            <pc:sldMk cId="170408520" sldId="256"/>
            <ac:spMk id="3" creationId="{7D16DBE4-2F81-457B-ADC1-C5AB505C9795}"/>
          </ac:spMkLst>
        </pc:spChg>
        <pc:spChg chg="mod">
          <ac:chgData name="Ettore Minelli" userId="7870a1ad-01cf-4239-8cce-750deae7f4ef" providerId="ADAL" clId="{D5085ABD-D722-4CB6-A6FB-9B8A3461E949}" dt="2022-12-03T12:03:20.179" v="780" actId="2711"/>
          <ac:spMkLst>
            <pc:docMk/>
            <pc:sldMk cId="170408520" sldId="256"/>
            <ac:spMk id="5" creationId="{5F63E7B1-527F-4B85-9E30-7B7C1B0189B2}"/>
          </ac:spMkLst>
        </pc:spChg>
        <pc:spChg chg="mod">
          <ac:chgData name="Ettore Minelli" userId="7870a1ad-01cf-4239-8cce-750deae7f4ef" providerId="ADAL" clId="{D5085ABD-D722-4CB6-A6FB-9B8A3461E949}" dt="2022-12-03T12:03:20.179" v="780" actId="2711"/>
          <ac:spMkLst>
            <pc:docMk/>
            <pc:sldMk cId="170408520" sldId="256"/>
            <ac:spMk id="6" creationId="{D0DBE77D-BB01-4090-90AC-FAD9A3EAECFF}"/>
          </ac:spMkLst>
        </pc:spChg>
        <pc:spChg chg="mod">
          <ac:chgData name="Ettore Minelli" userId="7870a1ad-01cf-4239-8cce-750deae7f4ef" providerId="ADAL" clId="{D5085ABD-D722-4CB6-A6FB-9B8A3461E949}" dt="2022-12-03T12:03:20.179" v="780" actId="2711"/>
          <ac:spMkLst>
            <pc:docMk/>
            <pc:sldMk cId="170408520" sldId="256"/>
            <ac:spMk id="7" creationId="{FE466A87-6A18-4682-8E23-2617350930F6}"/>
          </ac:spMkLst>
        </pc:spChg>
        <pc:spChg chg="add del mod">
          <ac:chgData name="Ettore Minelli" userId="7870a1ad-01cf-4239-8cce-750deae7f4ef" providerId="ADAL" clId="{D5085ABD-D722-4CB6-A6FB-9B8A3461E949}" dt="2022-12-03T12:10:26.905" v="800"/>
          <ac:spMkLst>
            <pc:docMk/>
            <pc:sldMk cId="170408520" sldId="256"/>
            <ac:spMk id="9" creationId="{C542DE20-739B-468F-A80E-DA7CCEBF00C0}"/>
          </ac:spMkLst>
        </pc:spChg>
        <pc:spChg chg="mod">
          <ac:chgData name="Ettore Minelli" userId="7870a1ad-01cf-4239-8cce-750deae7f4ef" providerId="ADAL" clId="{D5085ABD-D722-4CB6-A6FB-9B8A3461E949}" dt="2022-12-03T12:09:00.883" v="791"/>
          <ac:spMkLst>
            <pc:docMk/>
            <pc:sldMk cId="170408520" sldId="256"/>
            <ac:spMk id="11" creationId="{09C5BAFC-406F-45BE-AB66-AB2EF22A9BFF}"/>
          </ac:spMkLst>
        </pc:spChg>
        <pc:spChg chg="add del">
          <ac:chgData name="Ettore Minelli" userId="7870a1ad-01cf-4239-8cce-750deae7f4ef" providerId="ADAL" clId="{D5085ABD-D722-4CB6-A6FB-9B8A3461E949}" dt="2022-12-03T11:46:30.207" v="142" actId="478"/>
          <ac:spMkLst>
            <pc:docMk/>
            <pc:sldMk cId="170408520" sldId="256"/>
            <ac:spMk id="12" creationId="{714D7713-2DEB-4501-9F9E-768E6612B7CF}"/>
          </ac:spMkLst>
        </pc:spChg>
        <pc:spChg chg="add del mod">
          <ac:chgData name="Ettore Minelli" userId="7870a1ad-01cf-4239-8cce-750deae7f4ef" providerId="ADAL" clId="{D5085ABD-D722-4CB6-A6FB-9B8A3461E949}" dt="2022-12-03T12:09:30.737" v="794"/>
          <ac:spMkLst>
            <pc:docMk/>
            <pc:sldMk cId="170408520" sldId="256"/>
            <ac:spMk id="12" creationId="{85F5BA6D-8E13-402B-BE3B-AB55F2E92E2C}"/>
          </ac:spMkLst>
        </pc:spChg>
        <pc:spChg chg="add del mod">
          <ac:chgData name="Ettore Minelli" userId="7870a1ad-01cf-4239-8cce-750deae7f4ef" providerId="ADAL" clId="{D5085ABD-D722-4CB6-A6FB-9B8A3461E949}" dt="2022-12-03T12:09:30.737" v="794"/>
          <ac:spMkLst>
            <pc:docMk/>
            <pc:sldMk cId="170408520" sldId="256"/>
            <ac:spMk id="13" creationId="{C3042E6C-17C1-49F9-A4F3-19919305F263}"/>
          </ac:spMkLst>
        </pc:spChg>
        <pc:spChg chg="add mod">
          <ac:chgData name="Ettore Minelli" userId="7870a1ad-01cf-4239-8cce-750deae7f4ef" providerId="ADAL" clId="{D5085ABD-D722-4CB6-A6FB-9B8A3461E949}" dt="2022-12-03T11:46:43.277" v="146" actId="571"/>
          <ac:spMkLst>
            <pc:docMk/>
            <pc:sldMk cId="170408520" sldId="256"/>
            <ac:spMk id="14" creationId="{11FC9A7A-87CB-4258-8BC6-688B5F9639BF}"/>
          </ac:spMkLst>
        </pc:spChg>
        <pc:spChg chg="del mod">
          <ac:chgData name="Ettore Minelli" userId="7870a1ad-01cf-4239-8cce-750deae7f4ef" providerId="ADAL" clId="{D5085ABD-D722-4CB6-A6FB-9B8A3461E949}" dt="2022-12-03T12:11:54.136" v="818" actId="478"/>
          <ac:spMkLst>
            <pc:docMk/>
            <pc:sldMk cId="170408520" sldId="256"/>
            <ac:spMk id="14" creationId="{4DD5B973-87A3-4ADE-A94A-4318E56D0012}"/>
          </ac:spMkLst>
        </pc:spChg>
        <pc:spChg chg="mod">
          <ac:chgData name="Ettore Minelli" userId="7870a1ad-01cf-4239-8cce-750deae7f4ef" providerId="ADAL" clId="{D5085ABD-D722-4CB6-A6FB-9B8A3461E949}" dt="2022-12-03T12:12:08.023" v="822" actId="207"/>
          <ac:spMkLst>
            <pc:docMk/>
            <pc:sldMk cId="170408520" sldId="256"/>
            <ac:spMk id="15" creationId="{2CF0CF0A-5EF8-4774-B838-8A27680D94FC}"/>
          </ac:spMkLst>
        </pc:spChg>
        <pc:spChg chg="add mod">
          <ac:chgData name="Ettore Minelli" userId="7870a1ad-01cf-4239-8cce-750deae7f4ef" providerId="ADAL" clId="{D5085ABD-D722-4CB6-A6FB-9B8A3461E949}" dt="2022-12-03T11:46:46.761" v="148" actId="571"/>
          <ac:spMkLst>
            <pc:docMk/>
            <pc:sldMk cId="170408520" sldId="256"/>
            <ac:spMk id="15" creationId="{35D4E0C3-CD4C-41D3-A052-161F29ACAC25}"/>
          </ac:spMkLst>
        </pc:spChg>
        <pc:spChg chg="add mod">
          <ac:chgData name="Ettore Minelli" userId="7870a1ad-01cf-4239-8cce-750deae7f4ef" providerId="ADAL" clId="{D5085ABD-D722-4CB6-A6FB-9B8A3461E949}" dt="2022-12-09T19:14:12.567" v="6407" actId="20577"/>
          <ac:spMkLst>
            <pc:docMk/>
            <pc:sldMk cId="170408520" sldId="256"/>
            <ac:spMk id="16" creationId="{6A1D0711-6C04-41FE-8C4D-618851F6D4CD}"/>
          </ac:spMkLst>
        </pc:spChg>
        <pc:graphicFrameChg chg="add mod ord modVis replST">
          <ac:chgData name="Ettore Minelli" userId="7870a1ad-01cf-4239-8cce-750deae7f4ef" providerId="ADAL" clId="{D5085ABD-D722-4CB6-A6FB-9B8A3461E949}" dt="2022-12-03T11:05:51.756" v="76"/>
          <ac:graphicFrameMkLst>
            <pc:docMk/>
            <pc:sldMk cId="170408520" sldId="256"/>
            <ac:graphicFrameMk id="4" creationId="{3AA458C4-3EB1-48A0-AAA9-70FC54800D3B}"/>
          </ac:graphicFrameMkLst>
        </pc:graphicFrameChg>
        <pc:graphicFrameChg chg="add del mod">
          <ac:chgData name="Ettore Minelli" userId="7870a1ad-01cf-4239-8cce-750deae7f4ef" providerId="ADAL" clId="{D5085ABD-D722-4CB6-A6FB-9B8A3461E949}" dt="2022-12-03T11:16:54.994" v="107" actId="478"/>
          <ac:graphicFrameMkLst>
            <pc:docMk/>
            <pc:sldMk cId="170408520" sldId="256"/>
            <ac:graphicFrameMk id="8" creationId="{602B6011-064F-43F5-AB21-D28FC9AEC2CE}"/>
          </ac:graphicFrameMkLst>
        </pc:graphicFrameChg>
        <pc:graphicFrameChg chg="add del mod modGraphic">
          <ac:chgData name="Ettore Minelli" userId="7870a1ad-01cf-4239-8cce-750deae7f4ef" providerId="ADAL" clId="{D5085ABD-D722-4CB6-A6FB-9B8A3461E949}" dt="2022-12-03T11:41:25.523" v="133" actId="478"/>
          <ac:graphicFrameMkLst>
            <pc:docMk/>
            <pc:sldMk cId="170408520" sldId="256"/>
            <ac:graphicFrameMk id="10" creationId="{4BD3A712-33D7-476F-8D6C-6227399E4067}"/>
          </ac:graphicFrameMkLst>
        </pc:graphicFrameChg>
        <pc:graphicFrameChg chg="add del mod modGraphic">
          <ac:chgData name="Ettore Minelli" userId="7870a1ad-01cf-4239-8cce-750deae7f4ef" providerId="ADAL" clId="{D5085ABD-D722-4CB6-A6FB-9B8A3461E949}" dt="2022-12-03T11:46:05.858" v="140" actId="478"/>
          <ac:graphicFrameMkLst>
            <pc:docMk/>
            <pc:sldMk cId="170408520" sldId="256"/>
            <ac:graphicFrameMk id="11" creationId="{1C27092B-82A1-4A3B-A46E-801039E52ABB}"/>
          </ac:graphicFrameMkLst>
        </pc:graphicFrameChg>
        <pc:picChg chg="add mod">
          <ac:chgData name="Ettore Minelli" userId="7870a1ad-01cf-4239-8cce-750deae7f4ef" providerId="ADAL" clId="{D5085ABD-D722-4CB6-A6FB-9B8A3461E949}" dt="2022-12-03T12:03:20.179" v="780" actId="2711"/>
          <ac:picMkLst>
            <pc:docMk/>
            <pc:sldMk cId="170408520" sldId="256"/>
            <ac:picMk id="1026" creationId="{30BE5FDF-37BB-48B5-8A21-2FD0E33FE3A6}"/>
          </ac:picMkLst>
        </pc:picChg>
      </pc:sldChg>
      <pc:sldChg chg="new add del">
        <pc:chgData name="Ettore Minelli" userId="7870a1ad-01cf-4239-8cce-750deae7f4ef" providerId="ADAL" clId="{D5085ABD-D722-4CB6-A6FB-9B8A3461E949}" dt="2022-12-03T11:14:53.107" v="101" actId="47"/>
        <pc:sldMkLst>
          <pc:docMk/>
          <pc:sldMk cId="1558994472" sldId="257"/>
        </pc:sldMkLst>
      </pc:sldChg>
      <pc:sldChg chg="addSp delSp modSp add del mod setBg">
        <pc:chgData name="Ettore Minelli" userId="7870a1ad-01cf-4239-8cce-750deae7f4ef" providerId="ADAL" clId="{D5085ABD-D722-4CB6-A6FB-9B8A3461E949}" dt="2022-12-03T16:39:43.878" v="2054" actId="47"/>
        <pc:sldMkLst>
          <pc:docMk/>
          <pc:sldMk cId="2952919371" sldId="257"/>
        </pc:sldMkLst>
        <pc:spChg chg="add mod">
          <ac:chgData name="Ettore Minelli" userId="7870a1ad-01cf-4239-8cce-750deae7f4ef" providerId="ADAL" clId="{D5085ABD-D722-4CB6-A6FB-9B8A3461E949}" dt="2022-12-03T15:04:48.872" v="1050" actId="207"/>
          <ac:spMkLst>
            <pc:docMk/>
            <pc:sldMk cId="2952919371" sldId="257"/>
            <ac:spMk id="2" creationId="{C5E8BAFC-CF07-471F-BA02-4BA18594B316}"/>
          </ac:spMkLst>
        </pc:spChg>
        <pc:spChg chg="mod">
          <ac:chgData name="Ettore Minelli" userId="7870a1ad-01cf-4239-8cce-750deae7f4ef" providerId="ADAL" clId="{D5085ABD-D722-4CB6-A6FB-9B8A3461E949}" dt="2022-12-03T15:04:48.872" v="1050" actId="207"/>
          <ac:spMkLst>
            <pc:docMk/>
            <pc:sldMk cId="2952919371" sldId="257"/>
            <ac:spMk id="5" creationId="{5F63E7B1-527F-4B85-9E30-7B7C1B0189B2}"/>
          </ac:spMkLst>
        </pc:spChg>
        <pc:spChg chg="mod">
          <ac:chgData name="Ettore Minelli" userId="7870a1ad-01cf-4239-8cce-750deae7f4ef" providerId="ADAL" clId="{D5085ABD-D722-4CB6-A6FB-9B8A3461E949}" dt="2022-12-03T15:04:48.872" v="1050" actId="207"/>
          <ac:spMkLst>
            <pc:docMk/>
            <pc:sldMk cId="2952919371" sldId="257"/>
            <ac:spMk id="6" creationId="{D0DBE77D-BB01-4090-90AC-FAD9A3EAECFF}"/>
          </ac:spMkLst>
        </pc:spChg>
        <pc:spChg chg="mod">
          <ac:chgData name="Ettore Minelli" userId="7870a1ad-01cf-4239-8cce-750deae7f4ef" providerId="ADAL" clId="{D5085ABD-D722-4CB6-A6FB-9B8A3461E949}" dt="2022-12-03T15:04:48.872" v="1050" actId="207"/>
          <ac:spMkLst>
            <pc:docMk/>
            <pc:sldMk cId="2952919371" sldId="257"/>
            <ac:spMk id="7" creationId="{FE466A87-6A18-4682-8E23-2617350930F6}"/>
          </ac:spMkLst>
        </pc:spChg>
        <pc:spChg chg="mod">
          <ac:chgData name="Ettore Minelli" userId="7870a1ad-01cf-4239-8cce-750deae7f4ef" providerId="ADAL" clId="{D5085ABD-D722-4CB6-A6FB-9B8A3461E949}" dt="2022-12-03T15:04:48.872" v="1050" actId="207"/>
          <ac:spMkLst>
            <pc:docMk/>
            <pc:sldMk cId="2952919371" sldId="257"/>
            <ac:spMk id="15" creationId="{2CF0CF0A-5EF8-4774-B838-8A27680D94FC}"/>
          </ac:spMkLst>
        </pc:spChg>
        <pc:spChg chg="mod">
          <ac:chgData name="Ettore Minelli" userId="7870a1ad-01cf-4239-8cce-750deae7f4ef" providerId="ADAL" clId="{D5085ABD-D722-4CB6-A6FB-9B8A3461E949}" dt="2022-12-03T15:04:48.872" v="1050" actId="207"/>
          <ac:spMkLst>
            <pc:docMk/>
            <pc:sldMk cId="2952919371" sldId="257"/>
            <ac:spMk id="16" creationId="{6A1D0711-6C04-41FE-8C4D-618851F6D4CD}"/>
          </ac:spMkLst>
        </pc:spChg>
        <pc:graphicFrameChg chg="mod">
          <ac:chgData name="Ettore Minelli" userId="7870a1ad-01cf-4239-8cce-750deae7f4ef" providerId="ADAL" clId="{D5085ABD-D722-4CB6-A6FB-9B8A3461E949}" dt="2022-12-03T15:00:33.089" v="930"/>
          <ac:graphicFrameMkLst>
            <pc:docMk/>
            <pc:sldMk cId="2952919371" sldId="257"/>
            <ac:graphicFrameMk id="4" creationId="{3AA458C4-3EB1-48A0-AAA9-70FC54800D3B}"/>
          </ac:graphicFrameMkLst>
        </pc:graphicFrameChg>
        <pc:picChg chg="add del mod">
          <ac:chgData name="Ettore Minelli" userId="7870a1ad-01cf-4239-8cce-750deae7f4ef" providerId="ADAL" clId="{D5085ABD-D722-4CB6-A6FB-9B8A3461E949}" dt="2022-12-03T15:07:08.450" v="1059"/>
          <ac:picMkLst>
            <pc:docMk/>
            <pc:sldMk cId="2952919371" sldId="257"/>
            <ac:picMk id="10" creationId="{4AF84592-6082-42A2-8179-BD9036F689B1}"/>
          </ac:picMkLst>
        </pc:picChg>
        <pc:picChg chg="add del mod">
          <ac:chgData name="Ettore Minelli" userId="7870a1ad-01cf-4239-8cce-750deae7f4ef" providerId="ADAL" clId="{D5085ABD-D722-4CB6-A6FB-9B8A3461E949}" dt="2022-12-03T15:07:24.500" v="1066"/>
          <ac:picMkLst>
            <pc:docMk/>
            <pc:sldMk cId="2952919371" sldId="257"/>
            <ac:picMk id="1026" creationId="{30BE5FDF-37BB-48B5-8A21-2FD0E33FE3A6}"/>
          </ac:picMkLst>
        </pc:picChg>
      </pc:sldChg>
      <pc:sldChg chg="add del">
        <pc:chgData name="Ettore Minelli" userId="7870a1ad-01cf-4239-8cce-750deae7f4ef" providerId="ADAL" clId="{D5085ABD-D722-4CB6-A6FB-9B8A3461E949}" dt="2022-12-03T11:18:00.560" v="110" actId="47"/>
        <pc:sldMkLst>
          <pc:docMk/>
          <pc:sldMk cId="2973256198" sldId="257"/>
        </pc:sldMkLst>
      </pc:sldChg>
      <pc:sldChg chg="modSp add mod">
        <pc:chgData name="Ettore Minelli" userId="7870a1ad-01cf-4239-8cce-750deae7f4ef" providerId="ADAL" clId="{D5085ABD-D722-4CB6-A6FB-9B8A3461E949}" dt="2022-12-03T16:47:59.104" v="2128" actId="113"/>
        <pc:sldMkLst>
          <pc:docMk/>
          <pc:sldMk cId="1337598075" sldId="258"/>
        </pc:sldMkLst>
        <pc:spChg chg="mod">
          <ac:chgData name="Ettore Minelli" userId="7870a1ad-01cf-4239-8cce-750deae7f4ef" providerId="ADAL" clId="{D5085ABD-D722-4CB6-A6FB-9B8A3461E949}" dt="2022-12-03T16:42:09.250" v="2091" actId="114"/>
          <ac:spMkLst>
            <pc:docMk/>
            <pc:sldMk cId="1337598075" sldId="258"/>
            <ac:spMk id="2" creationId="{C5E8BAFC-CF07-471F-BA02-4BA18594B316}"/>
          </ac:spMkLst>
        </pc:spChg>
        <pc:spChg chg="mod">
          <ac:chgData name="Ettore Minelli" userId="7870a1ad-01cf-4239-8cce-750deae7f4ef" providerId="ADAL" clId="{D5085ABD-D722-4CB6-A6FB-9B8A3461E949}" dt="2022-12-03T16:47:59.104" v="2128" actId="113"/>
          <ac:spMkLst>
            <pc:docMk/>
            <pc:sldMk cId="1337598075" sldId="258"/>
            <ac:spMk id="15" creationId="{2CF0CF0A-5EF8-4774-B838-8A27680D94FC}"/>
          </ac:spMkLst>
        </pc:spChg>
      </pc:sldChg>
      <pc:sldChg chg="add del">
        <pc:chgData name="Ettore Minelli" userId="7870a1ad-01cf-4239-8cce-750deae7f4ef" providerId="ADAL" clId="{D5085ABD-D722-4CB6-A6FB-9B8A3461E949}" dt="2022-12-03T15:01:26.482" v="933" actId="47"/>
        <pc:sldMkLst>
          <pc:docMk/>
          <pc:sldMk cId="3368464008" sldId="258"/>
        </pc:sldMkLst>
      </pc:sldChg>
      <pc:sldChg chg="addSp delSp modSp add mod setBg">
        <pc:chgData name="Ettore Minelli" userId="7870a1ad-01cf-4239-8cce-750deae7f4ef" providerId="ADAL" clId="{D5085ABD-D722-4CB6-A6FB-9B8A3461E949}" dt="2022-12-05T14:34:56.216" v="2916" actId="207"/>
        <pc:sldMkLst>
          <pc:docMk/>
          <pc:sldMk cId="3217450606" sldId="259"/>
        </pc:sldMkLst>
        <pc:spChg chg="mod">
          <ac:chgData name="Ettore Minelli" userId="7870a1ad-01cf-4239-8cce-750deae7f4ef" providerId="ADAL" clId="{D5085ABD-D722-4CB6-A6FB-9B8A3461E949}" dt="2022-12-03T15:35:07.969" v="1130" actId="207"/>
          <ac:spMkLst>
            <pc:docMk/>
            <pc:sldMk cId="3217450606" sldId="259"/>
            <ac:spMk id="2" creationId="{C5E8BAFC-CF07-471F-BA02-4BA18594B316}"/>
          </ac:spMkLst>
        </pc:spChg>
        <pc:spChg chg="add del mod">
          <ac:chgData name="Ettore Minelli" userId="7870a1ad-01cf-4239-8cce-750deae7f4ef" providerId="ADAL" clId="{D5085ABD-D722-4CB6-A6FB-9B8A3461E949}" dt="2022-12-03T16:15:04.978" v="1988" actId="478"/>
          <ac:spMkLst>
            <pc:docMk/>
            <pc:sldMk cId="3217450606" sldId="259"/>
            <ac:spMk id="3" creationId="{AE100286-EB8E-4574-BAD2-414172AD7465}"/>
          </ac:spMkLst>
        </pc:spChg>
        <pc:spChg chg="add mod">
          <ac:chgData name="Ettore Minelli" userId="7870a1ad-01cf-4239-8cce-750deae7f4ef" providerId="ADAL" clId="{D5085ABD-D722-4CB6-A6FB-9B8A3461E949}" dt="2022-12-05T14:34:56.216" v="2916" actId="207"/>
          <ac:spMkLst>
            <pc:docMk/>
            <pc:sldMk cId="3217450606" sldId="259"/>
            <ac:spMk id="8" creationId="{CD4EA495-10F6-43AA-871C-6A702D1357E2}"/>
          </ac:spMkLst>
        </pc:spChg>
        <pc:spChg chg="add mod">
          <ac:chgData name="Ettore Minelli" userId="7870a1ad-01cf-4239-8cce-750deae7f4ef" providerId="ADAL" clId="{D5085ABD-D722-4CB6-A6FB-9B8A3461E949}" dt="2022-12-03T16:51:38.880" v="2133" actId="20577"/>
          <ac:spMkLst>
            <pc:docMk/>
            <pc:sldMk cId="3217450606" sldId="259"/>
            <ac:spMk id="13" creationId="{1B2CDD27-1BED-431E-B7FC-7EA1EF0F132D}"/>
          </ac:spMkLst>
        </pc:spChg>
        <pc:spChg chg="mod">
          <ac:chgData name="Ettore Minelli" userId="7870a1ad-01cf-4239-8cce-750deae7f4ef" providerId="ADAL" clId="{D5085ABD-D722-4CB6-A6FB-9B8A3461E949}" dt="2022-12-03T15:13:34.855" v="1128" actId="20577"/>
          <ac:spMkLst>
            <pc:docMk/>
            <pc:sldMk cId="3217450606" sldId="259"/>
            <ac:spMk id="15" creationId="{2CF0CF0A-5EF8-4774-B838-8A27680D94FC}"/>
          </ac:spMkLst>
        </pc:spChg>
        <pc:spChg chg="mod">
          <ac:chgData name="Ettore Minelli" userId="7870a1ad-01cf-4239-8cce-750deae7f4ef" providerId="ADAL" clId="{D5085ABD-D722-4CB6-A6FB-9B8A3461E949}" dt="2022-12-05T13:56:05.714" v="2515" actId="12"/>
          <ac:spMkLst>
            <pc:docMk/>
            <pc:sldMk cId="3217450606" sldId="259"/>
            <ac:spMk id="16" creationId="{6A1D0711-6C04-41FE-8C4D-618851F6D4CD}"/>
          </ac:spMkLst>
        </pc:spChg>
        <pc:spChg chg="add mod">
          <ac:chgData name="Ettore Minelli" userId="7870a1ad-01cf-4239-8cce-750deae7f4ef" providerId="ADAL" clId="{D5085ABD-D722-4CB6-A6FB-9B8A3461E949}" dt="2022-12-05T14:34:56.216" v="2916" actId="207"/>
          <ac:spMkLst>
            <pc:docMk/>
            <pc:sldMk cId="3217450606" sldId="259"/>
            <ac:spMk id="22" creationId="{81BB4FF6-ABFE-407A-88C3-F1A497B46F93}"/>
          </ac:spMkLst>
        </pc:spChg>
        <pc:graphicFrameChg chg="add del mod">
          <ac:chgData name="Ettore Minelli" userId="7870a1ad-01cf-4239-8cce-750deae7f4ef" providerId="ADAL" clId="{D5085ABD-D722-4CB6-A6FB-9B8A3461E949}" dt="2022-12-03T16:29:03.420" v="1993" actId="478"/>
          <ac:graphicFrameMkLst>
            <pc:docMk/>
            <pc:sldMk cId="3217450606" sldId="259"/>
            <ac:graphicFrameMk id="10" creationId="{EB097787-F906-4345-A325-A98706887166}"/>
          </ac:graphicFrameMkLst>
        </pc:graphicFrameChg>
        <pc:graphicFrameChg chg="add del mod">
          <ac:chgData name="Ettore Minelli" userId="7870a1ad-01cf-4239-8cce-750deae7f4ef" providerId="ADAL" clId="{D5085ABD-D722-4CB6-A6FB-9B8A3461E949}" dt="2022-12-03T15:46:42.183" v="1184" actId="478"/>
          <ac:graphicFrameMkLst>
            <pc:docMk/>
            <pc:sldMk cId="3217450606" sldId="259"/>
            <ac:graphicFrameMk id="11" creationId="{1E242A08-E5A4-4267-99FB-7F8CF5A65452}"/>
          </ac:graphicFrameMkLst>
        </pc:graphicFrameChg>
        <pc:graphicFrameChg chg="add del mod">
          <ac:chgData name="Ettore Minelli" userId="7870a1ad-01cf-4239-8cce-750deae7f4ef" providerId="ADAL" clId="{D5085ABD-D722-4CB6-A6FB-9B8A3461E949}" dt="2022-12-03T16:30:03.256" v="2004" actId="478"/>
          <ac:graphicFrameMkLst>
            <pc:docMk/>
            <pc:sldMk cId="3217450606" sldId="259"/>
            <ac:graphicFrameMk id="12" creationId="{17CD03D1-D652-4333-AFA9-7895BB6BF85B}"/>
          </ac:graphicFrameMkLst>
        </pc:graphicFrameChg>
        <pc:graphicFrameChg chg="add del mod">
          <ac:chgData name="Ettore Minelli" userId="7870a1ad-01cf-4239-8cce-750deae7f4ef" providerId="ADAL" clId="{D5085ABD-D722-4CB6-A6FB-9B8A3461E949}" dt="2022-12-03T16:00:48.408" v="1393" actId="478"/>
          <ac:graphicFrameMkLst>
            <pc:docMk/>
            <pc:sldMk cId="3217450606" sldId="259"/>
            <ac:graphicFrameMk id="14" creationId="{9992B8DB-AFEA-47BC-8FDA-3C2C414CFFDB}"/>
          </ac:graphicFrameMkLst>
        </pc:graphicFrameChg>
        <pc:graphicFrameChg chg="add del mod">
          <ac:chgData name="Ettore Minelli" userId="7870a1ad-01cf-4239-8cce-750deae7f4ef" providerId="ADAL" clId="{D5085ABD-D722-4CB6-A6FB-9B8A3461E949}" dt="2022-12-03T16:00:50.669" v="1394" actId="478"/>
          <ac:graphicFrameMkLst>
            <pc:docMk/>
            <pc:sldMk cId="3217450606" sldId="259"/>
            <ac:graphicFrameMk id="17" creationId="{002C6763-BF99-420E-950A-A914235D704F}"/>
          </ac:graphicFrameMkLst>
        </pc:graphicFrameChg>
        <pc:graphicFrameChg chg="add mod">
          <ac:chgData name="Ettore Minelli" userId="7870a1ad-01cf-4239-8cce-750deae7f4ef" providerId="ADAL" clId="{D5085ABD-D722-4CB6-A6FB-9B8A3461E949}" dt="2022-12-05T14:34:56.216" v="2916" actId="207"/>
          <ac:graphicFrameMkLst>
            <pc:docMk/>
            <pc:sldMk cId="3217450606" sldId="259"/>
            <ac:graphicFrameMk id="18" creationId="{ABF3DC66-6100-4574-8B33-D0042FCC8E17}"/>
          </ac:graphicFrameMkLst>
        </pc:graphicFrameChg>
        <pc:graphicFrameChg chg="add mod">
          <ac:chgData name="Ettore Minelli" userId="7870a1ad-01cf-4239-8cce-750deae7f4ef" providerId="ADAL" clId="{D5085ABD-D722-4CB6-A6FB-9B8A3461E949}" dt="2022-12-05T14:34:56.216" v="2916" actId="207"/>
          <ac:graphicFrameMkLst>
            <pc:docMk/>
            <pc:sldMk cId="3217450606" sldId="259"/>
            <ac:graphicFrameMk id="19" creationId="{287D3AFF-5E27-42C2-A643-C28B459AD772}"/>
          </ac:graphicFrameMkLst>
        </pc:graphicFrameChg>
        <pc:graphicFrameChg chg="add mod">
          <ac:chgData name="Ettore Minelli" userId="7870a1ad-01cf-4239-8cce-750deae7f4ef" providerId="ADAL" clId="{D5085ABD-D722-4CB6-A6FB-9B8A3461E949}" dt="2022-12-05T14:34:56.216" v="2916" actId="207"/>
          <ac:graphicFrameMkLst>
            <pc:docMk/>
            <pc:sldMk cId="3217450606" sldId="259"/>
            <ac:graphicFrameMk id="20" creationId="{456BC557-D71C-4D98-9754-8BB0E63221EF}"/>
          </ac:graphicFrameMkLst>
        </pc:graphicFrameChg>
        <pc:graphicFrameChg chg="add mod">
          <ac:chgData name="Ettore Minelli" userId="7870a1ad-01cf-4239-8cce-750deae7f4ef" providerId="ADAL" clId="{D5085ABD-D722-4CB6-A6FB-9B8A3461E949}" dt="2022-12-05T14:34:56.216" v="2916" actId="207"/>
          <ac:graphicFrameMkLst>
            <pc:docMk/>
            <pc:sldMk cId="3217450606" sldId="259"/>
            <ac:graphicFrameMk id="21" creationId="{583A10AD-FE7C-40DB-BD0C-E11A06EA4AEF}"/>
          </ac:graphicFrameMkLst>
        </pc:graphicFrameChg>
      </pc:sldChg>
      <pc:sldChg chg="addSp delSp modSp add del mod ord">
        <pc:chgData name="Ettore Minelli" userId="7870a1ad-01cf-4239-8cce-750deae7f4ef" providerId="ADAL" clId="{D5085ABD-D722-4CB6-A6FB-9B8A3461E949}" dt="2022-12-05T14:29:15.747" v="2836" actId="47"/>
        <pc:sldMkLst>
          <pc:docMk/>
          <pc:sldMk cId="1101928712" sldId="260"/>
        </pc:sldMkLst>
        <pc:spChg chg="mod">
          <ac:chgData name="Ettore Minelli" userId="7870a1ad-01cf-4239-8cce-750deae7f4ef" providerId="ADAL" clId="{D5085ABD-D722-4CB6-A6FB-9B8A3461E949}" dt="2022-12-05T13:05:29.548" v="2159"/>
          <ac:spMkLst>
            <pc:docMk/>
            <pc:sldMk cId="1101928712" sldId="260"/>
            <ac:spMk id="2" creationId="{C5E8BAFC-CF07-471F-BA02-4BA18594B316}"/>
          </ac:spMkLst>
        </pc:spChg>
        <pc:spChg chg="add mod">
          <ac:chgData name="Ettore Minelli" userId="7870a1ad-01cf-4239-8cce-750deae7f4ef" providerId="ADAL" clId="{D5085ABD-D722-4CB6-A6FB-9B8A3461E949}" dt="2022-12-05T13:09:08.872" v="2168"/>
          <ac:spMkLst>
            <pc:docMk/>
            <pc:sldMk cId="1101928712" sldId="260"/>
            <ac:spMk id="12" creationId="{7B34BBD2-D9CD-4350-A4D3-2AC72D485B9E}"/>
          </ac:spMkLst>
        </pc:spChg>
        <pc:spChg chg="add mod">
          <ac:chgData name="Ettore Minelli" userId="7870a1ad-01cf-4239-8cce-750deae7f4ef" providerId="ADAL" clId="{D5085ABD-D722-4CB6-A6FB-9B8A3461E949}" dt="2022-12-05T13:09:08.872" v="2168"/>
          <ac:spMkLst>
            <pc:docMk/>
            <pc:sldMk cId="1101928712" sldId="260"/>
            <ac:spMk id="13" creationId="{8FF6D0AB-8468-4955-966B-8435FA396D00}"/>
          </ac:spMkLst>
        </pc:spChg>
        <pc:spChg chg="add mod">
          <ac:chgData name="Ettore Minelli" userId="7870a1ad-01cf-4239-8cce-750deae7f4ef" providerId="ADAL" clId="{D5085ABD-D722-4CB6-A6FB-9B8A3461E949}" dt="2022-12-05T13:09:08.872" v="2168"/>
          <ac:spMkLst>
            <pc:docMk/>
            <pc:sldMk cId="1101928712" sldId="260"/>
            <ac:spMk id="14" creationId="{1FA7FB96-413B-4945-B12A-3498587BED95}"/>
          </ac:spMkLst>
        </pc:spChg>
        <pc:spChg chg="add del mod">
          <ac:chgData name="Ettore Minelli" userId="7870a1ad-01cf-4239-8cce-750deae7f4ef" providerId="ADAL" clId="{D5085ABD-D722-4CB6-A6FB-9B8A3461E949}" dt="2022-12-05T13:54:16.287" v="2510" actId="20577"/>
          <ac:spMkLst>
            <pc:docMk/>
            <pc:sldMk cId="1101928712" sldId="260"/>
            <ac:spMk id="15" creationId="{2CF0CF0A-5EF8-4774-B838-8A27680D94FC}"/>
          </ac:spMkLst>
        </pc:spChg>
        <pc:spChg chg="del">
          <ac:chgData name="Ettore Minelli" userId="7870a1ad-01cf-4239-8cce-750deae7f4ef" providerId="ADAL" clId="{D5085ABD-D722-4CB6-A6FB-9B8A3461E949}" dt="2022-12-05T13:08:14.270" v="2162" actId="478"/>
          <ac:spMkLst>
            <pc:docMk/>
            <pc:sldMk cId="1101928712" sldId="260"/>
            <ac:spMk id="16" creationId="{6A1D0711-6C04-41FE-8C4D-618851F6D4CD}"/>
          </ac:spMkLst>
        </pc:spChg>
        <pc:spChg chg="add mod">
          <ac:chgData name="Ettore Minelli" userId="7870a1ad-01cf-4239-8cce-750deae7f4ef" providerId="ADAL" clId="{D5085ABD-D722-4CB6-A6FB-9B8A3461E949}" dt="2022-12-05T13:09:08.872" v="2168"/>
          <ac:spMkLst>
            <pc:docMk/>
            <pc:sldMk cId="1101928712" sldId="260"/>
            <ac:spMk id="17" creationId="{4DD4DB83-58FB-4FFA-85D3-ED2384A88AF5}"/>
          </ac:spMkLst>
        </pc:spChg>
        <pc:spChg chg="add mod">
          <ac:chgData name="Ettore Minelli" userId="7870a1ad-01cf-4239-8cce-750deae7f4ef" providerId="ADAL" clId="{D5085ABD-D722-4CB6-A6FB-9B8A3461E949}" dt="2022-12-05T13:09:08.872" v="2168"/>
          <ac:spMkLst>
            <pc:docMk/>
            <pc:sldMk cId="1101928712" sldId="260"/>
            <ac:spMk id="18" creationId="{EDAC9EA1-6F6B-4805-BA4F-22768779A91C}"/>
          </ac:spMkLst>
        </pc:spChg>
        <pc:spChg chg="add mod">
          <ac:chgData name="Ettore Minelli" userId="7870a1ad-01cf-4239-8cce-750deae7f4ef" providerId="ADAL" clId="{D5085ABD-D722-4CB6-A6FB-9B8A3461E949}" dt="2022-12-05T13:16:09.901" v="2187" actId="14100"/>
          <ac:spMkLst>
            <pc:docMk/>
            <pc:sldMk cId="1101928712" sldId="260"/>
            <ac:spMk id="19" creationId="{020BDA0D-C377-41DF-9B27-3F8BB71139D2}"/>
          </ac:spMkLst>
        </pc:spChg>
        <pc:spChg chg="add mod">
          <ac:chgData name="Ettore Minelli" userId="7870a1ad-01cf-4239-8cce-750deae7f4ef" providerId="ADAL" clId="{D5085ABD-D722-4CB6-A6FB-9B8A3461E949}" dt="2022-12-05T13:15:03.940" v="2180" actId="255"/>
          <ac:spMkLst>
            <pc:docMk/>
            <pc:sldMk cId="1101928712" sldId="260"/>
            <ac:spMk id="20" creationId="{BFD0A50A-F9CD-4A55-989C-27689196E03D}"/>
          </ac:spMkLst>
        </pc:spChg>
        <pc:spChg chg="add mod">
          <ac:chgData name="Ettore Minelli" userId="7870a1ad-01cf-4239-8cce-750deae7f4ef" providerId="ADAL" clId="{D5085ABD-D722-4CB6-A6FB-9B8A3461E949}" dt="2022-12-05T14:06:50.387" v="2522" actId="2711"/>
          <ac:spMkLst>
            <pc:docMk/>
            <pc:sldMk cId="1101928712" sldId="260"/>
            <ac:spMk id="21" creationId="{D681D5EC-489A-4CD0-AA79-30471FC00FEB}"/>
          </ac:spMkLst>
        </pc:spChg>
        <pc:spChg chg="add mod">
          <ac:chgData name="Ettore Minelli" userId="7870a1ad-01cf-4239-8cce-750deae7f4ef" providerId="ADAL" clId="{D5085ABD-D722-4CB6-A6FB-9B8A3461E949}" dt="2022-12-05T14:06:58.621" v="2523" actId="1076"/>
          <ac:spMkLst>
            <pc:docMk/>
            <pc:sldMk cId="1101928712" sldId="260"/>
            <ac:spMk id="22" creationId="{EE584292-3CCD-4216-A189-513FECBFB5F5}"/>
          </ac:spMkLst>
        </pc:spChg>
        <pc:spChg chg="add del">
          <ac:chgData name="Ettore Minelli" userId="7870a1ad-01cf-4239-8cce-750deae7f4ef" providerId="ADAL" clId="{D5085ABD-D722-4CB6-A6FB-9B8A3461E949}" dt="2022-12-05T13:23:13.240" v="2195" actId="22"/>
          <ac:spMkLst>
            <pc:docMk/>
            <pc:sldMk cId="1101928712" sldId="260"/>
            <ac:spMk id="23" creationId="{8EDE3395-DBCE-4F3D-A1EE-05EBCC3C33B3}"/>
          </ac:spMkLst>
        </pc:spChg>
        <pc:spChg chg="add mod">
          <ac:chgData name="Ettore Minelli" userId="7870a1ad-01cf-4239-8cce-750deae7f4ef" providerId="ADAL" clId="{D5085ABD-D722-4CB6-A6FB-9B8A3461E949}" dt="2022-12-05T13:23:56.268" v="2204" actId="1076"/>
          <ac:spMkLst>
            <pc:docMk/>
            <pc:sldMk cId="1101928712" sldId="260"/>
            <ac:spMk id="25" creationId="{6CC97D82-ADD1-4C19-A3BB-819209CE8733}"/>
          </ac:spMkLst>
        </pc:spChg>
        <pc:grpChg chg="add mod">
          <ac:chgData name="Ettore Minelli" userId="7870a1ad-01cf-4239-8cce-750deae7f4ef" providerId="ADAL" clId="{D5085ABD-D722-4CB6-A6FB-9B8A3461E949}" dt="2022-12-05T14:07:12.474" v="2524" actId="207"/>
          <ac:grpSpMkLst>
            <pc:docMk/>
            <pc:sldMk cId="1101928712" sldId="260"/>
            <ac:grpSpMk id="11" creationId="{B398363C-19A0-4B4F-B700-98EE9035E2B0}"/>
          </ac:grpSpMkLst>
        </pc:grpChg>
        <pc:graphicFrameChg chg="del mod">
          <ac:chgData name="Ettore Minelli" userId="7870a1ad-01cf-4239-8cce-750deae7f4ef" providerId="ADAL" clId="{D5085ABD-D722-4CB6-A6FB-9B8A3461E949}" dt="2022-12-05T13:23:04.635" v="2193" actId="478"/>
          <ac:graphicFrameMkLst>
            <pc:docMk/>
            <pc:sldMk cId="1101928712" sldId="260"/>
            <ac:graphicFrameMk id="3" creationId="{47685F60-49C6-4859-A374-8DE7DFA36A5D}"/>
          </ac:graphicFrameMkLst>
        </pc:graphicFrameChg>
        <pc:graphicFrameChg chg="add mod">
          <ac:chgData name="Ettore Minelli" userId="7870a1ad-01cf-4239-8cce-750deae7f4ef" providerId="ADAL" clId="{D5085ABD-D722-4CB6-A6FB-9B8A3461E949}" dt="2022-12-05T14:07:29.721" v="2527" actId="207"/>
          <ac:graphicFrameMkLst>
            <pc:docMk/>
            <pc:sldMk cId="1101928712" sldId="260"/>
            <ac:graphicFrameMk id="10" creationId="{418CA93C-A096-BEDC-A959-8521A796739F}"/>
          </ac:graphicFrameMkLst>
        </pc:graphicFrameChg>
      </pc:sldChg>
      <pc:sldChg chg="addSp modSp add mod ord">
        <pc:chgData name="Ettore Minelli" userId="7870a1ad-01cf-4239-8cce-750deae7f4ef" providerId="ADAL" clId="{D5085ABD-D722-4CB6-A6FB-9B8A3461E949}" dt="2022-12-05T14:34:47.287" v="2915" actId="207"/>
        <pc:sldMkLst>
          <pc:docMk/>
          <pc:sldMk cId="150756695" sldId="261"/>
        </pc:sldMkLst>
        <pc:spChg chg="mod">
          <ac:chgData name="Ettore Minelli" userId="7870a1ad-01cf-4239-8cce-750deae7f4ef" providerId="ADAL" clId="{D5085ABD-D722-4CB6-A6FB-9B8A3461E949}" dt="2022-12-05T14:09:52.487" v="2545" actId="114"/>
          <ac:spMkLst>
            <pc:docMk/>
            <pc:sldMk cId="150756695" sldId="261"/>
            <ac:spMk id="2" creationId="{C5E8BAFC-CF07-471F-BA02-4BA18594B316}"/>
          </ac:spMkLst>
        </pc:spChg>
        <pc:spChg chg="add mod">
          <ac:chgData name="Ettore Minelli" userId="7870a1ad-01cf-4239-8cce-750deae7f4ef" providerId="ADAL" clId="{D5085ABD-D722-4CB6-A6FB-9B8A3461E949}" dt="2022-12-05T14:24:23.796" v="2818" actId="12788"/>
          <ac:spMkLst>
            <pc:docMk/>
            <pc:sldMk cId="150756695" sldId="261"/>
            <ac:spMk id="3" creationId="{F2F0E44F-8DDB-442D-A445-D804136F0390}"/>
          </ac:spMkLst>
        </pc:spChg>
        <pc:spChg chg="mod">
          <ac:chgData name="Ettore Minelli" userId="7870a1ad-01cf-4239-8cce-750deae7f4ef" providerId="ADAL" clId="{D5085ABD-D722-4CB6-A6FB-9B8A3461E949}" dt="2022-12-05T14:25:43.279" v="2819" actId="113"/>
          <ac:spMkLst>
            <pc:docMk/>
            <pc:sldMk cId="150756695" sldId="261"/>
            <ac:spMk id="15" creationId="{2CF0CF0A-5EF8-4774-B838-8A27680D94FC}"/>
          </ac:spMkLst>
        </pc:spChg>
        <pc:graphicFrameChg chg="add mod">
          <ac:chgData name="Ettore Minelli" userId="7870a1ad-01cf-4239-8cce-750deae7f4ef" providerId="ADAL" clId="{D5085ABD-D722-4CB6-A6FB-9B8A3461E949}" dt="2022-12-05T14:34:47.287" v="2915" actId="207"/>
          <ac:graphicFrameMkLst>
            <pc:docMk/>
            <pc:sldMk cId="150756695" sldId="261"/>
            <ac:graphicFrameMk id="10" creationId="{7A568193-EC74-40CD-92E8-467F37377308}"/>
          </ac:graphicFrameMkLst>
        </pc:graphicFrameChg>
      </pc:sldChg>
      <pc:sldChg chg="add del">
        <pc:chgData name="Ettore Minelli" userId="7870a1ad-01cf-4239-8cce-750deae7f4ef" providerId="ADAL" clId="{D5085ABD-D722-4CB6-A6FB-9B8A3461E949}" dt="2022-12-05T13:05:11.064" v="2154" actId="47"/>
        <pc:sldMkLst>
          <pc:docMk/>
          <pc:sldMk cId="3409676979" sldId="261"/>
        </pc:sldMkLst>
      </pc:sldChg>
      <pc:sldChg chg="addSp delSp modSp add mod">
        <pc:chgData name="Ettore Minelli" userId="7870a1ad-01cf-4239-8cce-750deae7f4ef" providerId="ADAL" clId="{D5085ABD-D722-4CB6-A6FB-9B8A3461E949}" dt="2022-12-13T12:54:48.812" v="8650" actId="20577"/>
        <pc:sldMkLst>
          <pc:docMk/>
          <pc:sldMk cId="906059187" sldId="262"/>
        </pc:sldMkLst>
        <pc:spChg chg="mod">
          <ac:chgData name="Ettore Minelli" userId="7870a1ad-01cf-4239-8cce-750deae7f4ef" providerId="ADAL" clId="{D5085ABD-D722-4CB6-A6FB-9B8A3461E949}" dt="2022-12-13T12:54:48.812" v="8650" actId="20577"/>
          <ac:spMkLst>
            <pc:docMk/>
            <pc:sldMk cId="906059187" sldId="262"/>
            <ac:spMk id="2" creationId="{C5E8BAFC-CF07-471F-BA02-4BA18594B316}"/>
          </ac:spMkLst>
        </pc:spChg>
        <pc:spChg chg="add del mod">
          <ac:chgData name="Ettore Minelli" userId="7870a1ad-01cf-4239-8cce-750deae7f4ef" providerId="ADAL" clId="{D5085ABD-D722-4CB6-A6FB-9B8A3461E949}" dt="2022-12-12T19:06:19.195" v="8489" actId="478"/>
          <ac:spMkLst>
            <pc:docMk/>
            <pc:sldMk cId="906059187" sldId="262"/>
            <ac:spMk id="8" creationId="{3E99DC72-8DD0-4AAF-8E26-06682D846778}"/>
          </ac:spMkLst>
        </pc:spChg>
        <pc:spChg chg="add del mod">
          <ac:chgData name="Ettore Minelli" userId="7870a1ad-01cf-4239-8cce-750deae7f4ef" providerId="ADAL" clId="{D5085ABD-D722-4CB6-A6FB-9B8A3461E949}" dt="2022-12-12T19:06:17.269" v="8488" actId="478"/>
          <ac:spMkLst>
            <pc:docMk/>
            <pc:sldMk cId="906059187" sldId="262"/>
            <ac:spMk id="9" creationId="{737964A0-1831-4FA8-A06E-0F8E92E3ABE9}"/>
          </ac:spMkLst>
        </pc:spChg>
        <pc:spChg chg="del">
          <ac:chgData name="Ettore Minelli" userId="7870a1ad-01cf-4239-8cce-750deae7f4ef" providerId="ADAL" clId="{D5085ABD-D722-4CB6-A6FB-9B8A3461E949}" dt="2022-12-05T14:27:43.046" v="2822" actId="478"/>
          <ac:spMkLst>
            <pc:docMk/>
            <pc:sldMk cId="906059187" sldId="262"/>
            <ac:spMk id="15" creationId="{2CF0CF0A-5EF8-4774-B838-8A27680D94FC}"/>
          </ac:spMkLst>
        </pc:spChg>
        <pc:spChg chg="add mod">
          <ac:chgData name="Ettore Minelli" userId="7870a1ad-01cf-4239-8cce-750deae7f4ef" providerId="ADAL" clId="{D5085ABD-D722-4CB6-A6FB-9B8A3461E949}" dt="2022-12-12T19:15:06.884" v="8564" actId="693"/>
          <ac:spMkLst>
            <pc:docMk/>
            <pc:sldMk cId="906059187" sldId="262"/>
            <ac:spMk id="15" creationId="{F20D23D5-21DA-4859-ADA4-35577156113D}"/>
          </ac:spMkLst>
        </pc:spChg>
        <pc:spChg chg="mod">
          <ac:chgData name="Ettore Minelli" userId="7870a1ad-01cf-4239-8cce-750deae7f4ef" providerId="ADAL" clId="{D5085ABD-D722-4CB6-A6FB-9B8A3461E949}" dt="2022-12-12T18:43:59.822" v="8055" actId="1076"/>
          <ac:spMkLst>
            <pc:docMk/>
            <pc:sldMk cId="906059187" sldId="262"/>
            <ac:spMk id="19" creationId="{020BDA0D-C377-41DF-9B27-3F8BB71139D2}"/>
          </ac:spMkLst>
        </pc:spChg>
        <pc:spChg chg="mod">
          <ac:chgData name="Ettore Minelli" userId="7870a1ad-01cf-4239-8cce-750deae7f4ef" providerId="ADAL" clId="{D5085ABD-D722-4CB6-A6FB-9B8A3461E949}" dt="2022-12-12T19:13:42.912" v="8551" actId="1076"/>
          <ac:spMkLst>
            <pc:docMk/>
            <pc:sldMk cId="906059187" sldId="262"/>
            <ac:spMk id="21" creationId="{D681D5EC-489A-4CD0-AA79-30471FC00FEB}"/>
          </ac:spMkLst>
        </pc:spChg>
        <pc:spChg chg="add mod">
          <ac:chgData name="Ettore Minelli" userId="7870a1ad-01cf-4239-8cce-750deae7f4ef" providerId="ADAL" clId="{D5085ABD-D722-4CB6-A6FB-9B8A3461E949}" dt="2022-12-05T14:28:49.565" v="2834" actId="1076"/>
          <ac:spMkLst>
            <pc:docMk/>
            <pc:sldMk cId="906059187" sldId="262"/>
            <ac:spMk id="23" creationId="{EF2EE201-4ABB-44CF-858E-A35082CAFF68}"/>
          </ac:spMkLst>
        </pc:spChg>
        <pc:spChg chg="add mod">
          <ac:chgData name="Ettore Minelli" userId="7870a1ad-01cf-4239-8cce-750deae7f4ef" providerId="ADAL" clId="{D5085ABD-D722-4CB6-A6FB-9B8A3461E949}" dt="2022-12-12T19:18:51.557" v="8598" actId="113"/>
          <ac:spMkLst>
            <pc:docMk/>
            <pc:sldMk cId="906059187" sldId="262"/>
            <ac:spMk id="24" creationId="{F239716C-519C-47D8-AE21-B3AF08703CEC}"/>
          </ac:spMkLst>
        </pc:spChg>
        <pc:spChg chg="mod">
          <ac:chgData name="Ettore Minelli" userId="7870a1ad-01cf-4239-8cce-750deae7f4ef" providerId="ADAL" clId="{D5085ABD-D722-4CB6-A6FB-9B8A3461E949}" dt="2022-12-05T14:27:29.991" v="2821" actId="164"/>
          <ac:spMkLst>
            <pc:docMk/>
            <pc:sldMk cId="906059187" sldId="262"/>
            <ac:spMk id="25" creationId="{6CC97D82-ADD1-4C19-A3BB-819209CE8733}"/>
          </ac:spMkLst>
        </pc:spChg>
        <pc:spChg chg="add mod">
          <ac:chgData name="Ettore Minelli" userId="7870a1ad-01cf-4239-8cce-750deae7f4ef" providerId="ADAL" clId="{D5085ABD-D722-4CB6-A6FB-9B8A3461E949}" dt="2022-12-12T19:16:22.413" v="8574" actId="14100"/>
          <ac:spMkLst>
            <pc:docMk/>
            <pc:sldMk cId="906059187" sldId="262"/>
            <ac:spMk id="29" creationId="{F1E0C68E-A4A6-4D1E-8CB5-89C080D1E6F8}"/>
          </ac:spMkLst>
        </pc:spChg>
        <pc:spChg chg="add mod">
          <ac:chgData name="Ettore Minelli" userId="7870a1ad-01cf-4239-8cce-750deae7f4ef" providerId="ADAL" clId="{D5085ABD-D722-4CB6-A6FB-9B8A3461E949}" dt="2022-12-12T19:18:23.043" v="8596" actId="113"/>
          <ac:spMkLst>
            <pc:docMk/>
            <pc:sldMk cId="906059187" sldId="262"/>
            <ac:spMk id="33" creationId="{B6C210CF-C6ED-4D42-980B-928CB46F64E7}"/>
          </ac:spMkLst>
        </pc:spChg>
        <pc:spChg chg="add mod">
          <ac:chgData name="Ettore Minelli" userId="7870a1ad-01cf-4239-8cce-750deae7f4ef" providerId="ADAL" clId="{D5085ABD-D722-4CB6-A6FB-9B8A3461E949}" dt="2022-12-12T19:18:23.043" v="8596" actId="113"/>
          <ac:spMkLst>
            <pc:docMk/>
            <pc:sldMk cId="906059187" sldId="262"/>
            <ac:spMk id="34" creationId="{EE45E907-24A8-4352-A159-9953347A9A6F}"/>
          </ac:spMkLst>
        </pc:spChg>
        <pc:grpChg chg="add mod">
          <ac:chgData name="Ettore Minelli" userId="7870a1ad-01cf-4239-8cce-750deae7f4ef" providerId="ADAL" clId="{D5085ABD-D722-4CB6-A6FB-9B8A3461E949}" dt="2022-12-12T19:16:03.865" v="8572" actId="1076"/>
          <ac:grpSpMkLst>
            <pc:docMk/>
            <pc:sldMk cId="906059187" sldId="262"/>
            <ac:grpSpMk id="3" creationId="{0E57DCC4-B2EF-4D78-844C-7F6476286CAA}"/>
          </ac:grpSpMkLst>
        </pc:grpChg>
        <pc:grpChg chg="mod">
          <ac:chgData name="Ettore Minelli" userId="7870a1ad-01cf-4239-8cce-750deae7f4ef" providerId="ADAL" clId="{D5085ABD-D722-4CB6-A6FB-9B8A3461E949}" dt="2022-12-05T14:27:29.991" v="2821" actId="164"/>
          <ac:grpSpMkLst>
            <pc:docMk/>
            <pc:sldMk cId="906059187" sldId="262"/>
            <ac:grpSpMk id="11" creationId="{B398363C-19A0-4B4F-B700-98EE9035E2B0}"/>
          </ac:grpSpMkLst>
        </pc:grpChg>
        <pc:graphicFrameChg chg="mod">
          <ac:chgData name="Ettore Minelli" userId="7870a1ad-01cf-4239-8cce-750deae7f4ef" providerId="ADAL" clId="{D5085ABD-D722-4CB6-A6FB-9B8A3461E949}" dt="2022-12-05T14:27:29.991" v="2821" actId="164"/>
          <ac:graphicFrameMkLst>
            <pc:docMk/>
            <pc:sldMk cId="906059187" sldId="262"/>
            <ac:graphicFrameMk id="10" creationId="{418CA93C-A096-BEDC-A959-8521A796739F}"/>
          </ac:graphicFrameMkLst>
        </pc:graphicFrameChg>
        <pc:cxnChg chg="add del mod">
          <ac:chgData name="Ettore Minelli" userId="7870a1ad-01cf-4239-8cce-750deae7f4ef" providerId="ADAL" clId="{D5085ABD-D722-4CB6-A6FB-9B8A3461E949}" dt="2022-12-12T19:14:37.644" v="8560" actId="478"/>
          <ac:cxnSpMkLst>
            <pc:docMk/>
            <pc:sldMk cId="906059187" sldId="262"/>
            <ac:cxnSpMk id="26" creationId="{C3F43CE1-45F4-4954-A763-CF271BF4B5F1}"/>
          </ac:cxnSpMkLst>
        </pc:cxnChg>
        <pc:cxnChg chg="add mod">
          <ac:chgData name="Ettore Minelli" userId="7870a1ad-01cf-4239-8cce-750deae7f4ef" providerId="ADAL" clId="{D5085ABD-D722-4CB6-A6FB-9B8A3461E949}" dt="2022-12-12T19:16:34.718" v="8577" actId="14100"/>
          <ac:cxnSpMkLst>
            <pc:docMk/>
            <pc:sldMk cId="906059187" sldId="262"/>
            <ac:cxnSpMk id="28" creationId="{BDCCDF3E-4024-4E61-9C6D-ECE4AD430625}"/>
          </ac:cxnSpMkLst>
        </pc:cxnChg>
      </pc:sldChg>
      <pc:sldChg chg="addSp delSp modSp add del mod ord setBg">
        <pc:chgData name="Ettore Minelli" userId="7870a1ad-01cf-4239-8cce-750deae7f4ef" providerId="ADAL" clId="{D5085ABD-D722-4CB6-A6FB-9B8A3461E949}" dt="2022-12-11T11:44:56.023" v="7660" actId="165"/>
        <pc:sldMkLst>
          <pc:docMk/>
          <pc:sldMk cId="2115225907" sldId="263"/>
        </pc:sldMkLst>
        <pc:spChg chg="mod ord">
          <ac:chgData name="Ettore Minelli" userId="7870a1ad-01cf-4239-8cce-750deae7f4ef" providerId="ADAL" clId="{D5085ABD-D722-4CB6-A6FB-9B8A3461E949}" dt="2022-12-09T19:09:24.763" v="6332" actId="20577"/>
          <ac:spMkLst>
            <pc:docMk/>
            <pc:sldMk cId="2115225907" sldId="263"/>
            <ac:spMk id="2" creationId="{C5E8BAFC-CF07-471F-BA02-4BA18594B316}"/>
          </ac:spMkLst>
        </pc:spChg>
        <pc:spChg chg="add del mod">
          <ac:chgData name="Ettore Minelli" userId="7870a1ad-01cf-4239-8cce-750deae7f4ef" providerId="ADAL" clId="{D5085ABD-D722-4CB6-A6FB-9B8A3461E949}" dt="2022-12-09T18:49:18.347" v="4071" actId="478"/>
          <ac:spMkLst>
            <pc:docMk/>
            <pc:sldMk cId="2115225907" sldId="263"/>
            <ac:spMk id="3" creationId="{308F1920-2AE6-433D-9AF2-42E1B4E36CB4}"/>
          </ac:spMkLst>
        </pc:spChg>
        <pc:spChg chg="del">
          <ac:chgData name="Ettore Minelli" userId="7870a1ad-01cf-4239-8cce-750deae7f4ef" providerId="ADAL" clId="{D5085ABD-D722-4CB6-A6FB-9B8A3461E949}" dt="2022-12-05T14:34:10.450" v="2913" actId="478"/>
          <ac:spMkLst>
            <pc:docMk/>
            <pc:sldMk cId="2115225907" sldId="263"/>
            <ac:spMk id="3" creationId="{F2F0E44F-8DDB-442D-A445-D804136F0390}"/>
          </ac:spMkLst>
        </pc:spChg>
        <pc:spChg chg="mod ord">
          <ac:chgData name="Ettore Minelli" userId="7870a1ad-01cf-4239-8cce-750deae7f4ef" providerId="ADAL" clId="{D5085ABD-D722-4CB6-A6FB-9B8A3461E949}" dt="2022-12-09T18:53:16.152" v="6026"/>
          <ac:spMkLst>
            <pc:docMk/>
            <pc:sldMk cId="2115225907" sldId="263"/>
            <ac:spMk id="5" creationId="{5F63E7B1-527F-4B85-9E30-7B7C1B0189B2}"/>
          </ac:spMkLst>
        </pc:spChg>
        <pc:spChg chg="mod ord">
          <ac:chgData name="Ettore Minelli" userId="7870a1ad-01cf-4239-8cce-750deae7f4ef" providerId="ADAL" clId="{D5085ABD-D722-4CB6-A6FB-9B8A3461E949}" dt="2022-12-09T18:53:16.153" v="6028"/>
          <ac:spMkLst>
            <pc:docMk/>
            <pc:sldMk cId="2115225907" sldId="263"/>
            <ac:spMk id="6" creationId="{D0DBE77D-BB01-4090-90AC-FAD9A3EAECFF}"/>
          </ac:spMkLst>
        </pc:spChg>
        <pc:spChg chg="mod ord">
          <ac:chgData name="Ettore Minelli" userId="7870a1ad-01cf-4239-8cce-750deae7f4ef" providerId="ADAL" clId="{D5085ABD-D722-4CB6-A6FB-9B8A3461E949}" dt="2022-12-09T18:53:16.153" v="6030"/>
          <ac:spMkLst>
            <pc:docMk/>
            <pc:sldMk cId="2115225907" sldId="263"/>
            <ac:spMk id="7" creationId="{FE466A87-6A18-4682-8E23-2617350930F6}"/>
          </ac:spMkLst>
        </pc:spChg>
        <pc:spChg chg="add del mod">
          <ac:chgData name="Ettore Minelli" userId="7870a1ad-01cf-4239-8cce-750deae7f4ef" providerId="ADAL" clId="{D5085ABD-D722-4CB6-A6FB-9B8A3461E949}" dt="2022-12-09T18:50:28.387" v="4088" actId="478"/>
          <ac:spMkLst>
            <pc:docMk/>
            <pc:sldMk cId="2115225907" sldId="263"/>
            <ac:spMk id="8" creationId="{25C3906C-E404-4936-972B-E972398F1EFC}"/>
          </ac:spMkLst>
        </pc:spChg>
        <pc:spChg chg="add del mod">
          <ac:chgData name="Ettore Minelli" userId="7870a1ad-01cf-4239-8cce-750deae7f4ef" providerId="ADAL" clId="{D5085ABD-D722-4CB6-A6FB-9B8A3461E949}" dt="2022-12-09T18:51:38.174" v="4106" actId="478"/>
          <ac:spMkLst>
            <pc:docMk/>
            <pc:sldMk cId="2115225907" sldId="263"/>
            <ac:spMk id="9" creationId="{D27DD568-1F31-4349-A41E-D19F8FA99332}"/>
          </ac:spMkLst>
        </pc:spChg>
        <pc:spChg chg="del mod topLvl">
          <ac:chgData name="Ettore Minelli" userId="7870a1ad-01cf-4239-8cce-750deae7f4ef" providerId="ADAL" clId="{D5085ABD-D722-4CB6-A6FB-9B8A3461E949}" dt="2022-12-09T18:48:17.811" v="4060" actId="478"/>
          <ac:spMkLst>
            <pc:docMk/>
            <pc:sldMk cId="2115225907" sldId="263"/>
            <ac:spMk id="12" creationId="{C1421F10-07C8-455D-8C9B-ED20AE370A7B}"/>
          </ac:spMkLst>
        </pc:spChg>
        <pc:spChg chg="mod ord">
          <ac:chgData name="Ettore Minelli" userId="7870a1ad-01cf-4239-8cce-750deae7f4ef" providerId="ADAL" clId="{D5085ABD-D722-4CB6-A6FB-9B8A3461E949}" dt="2022-12-09T18:59:42.617" v="6224" actId="313"/>
          <ac:spMkLst>
            <pc:docMk/>
            <pc:sldMk cId="2115225907" sldId="263"/>
            <ac:spMk id="15" creationId="{2CF0CF0A-5EF8-4774-B838-8A27680D94FC}"/>
          </ac:spMkLst>
        </pc:spChg>
        <pc:spChg chg="del mod ord">
          <ac:chgData name="Ettore Minelli" userId="7870a1ad-01cf-4239-8cce-750deae7f4ef" providerId="ADAL" clId="{D5085ABD-D722-4CB6-A6FB-9B8A3461E949}" dt="2022-12-11T09:39:18.725" v="6410" actId="478"/>
          <ac:spMkLst>
            <pc:docMk/>
            <pc:sldMk cId="2115225907" sldId="263"/>
            <ac:spMk id="16" creationId="{6A1D0711-6C04-41FE-8C4D-618851F6D4CD}"/>
          </ac:spMkLst>
        </pc:spChg>
        <pc:spChg chg="mod ord topLvl">
          <ac:chgData name="Ettore Minelli" userId="7870a1ad-01cf-4239-8cce-750deae7f4ef" providerId="ADAL" clId="{D5085ABD-D722-4CB6-A6FB-9B8A3461E949}" dt="2022-12-11T11:44:56.023" v="7660" actId="165"/>
          <ac:spMkLst>
            <pc:docMk/>
            <pc:sldMk cId="2115225907" sldId="263"/>
            <ac:spMk id="18" creationId="{0368A043-C366-4020-82CA-5FE5405D4E37}"/>
          </ac:spMkLst>
        </pc:spChg>
        <pc:spChg chg="mod ord topLvl">
          <ac:chgData name="Ettore Minelli" userId="7870a1ad-01cf-4239-8cce-750deae7f4ef" providerId="ADAL" clId="{D5085ABD-D722-4CB6-A6FB-9B8A3461E949}" dt="2022-12-11T11:44:56.023" v="7660" actId="165"/>
          <ac:spMkLst>
            <pc:docMk/>
            <pc:sldMk cId="2115225907" sldId="263"/>
            <ac:spMk id="19" creationId="{4134D1BD-6FEA-440F-AF31-E29175798CD7}"/>
          </ac:spMkLst>
        </pc:spChg>
        <pc:spChg chg="mod ord topLvl">
          <ac:chgData name="Ettore Minelli" userId="7870a1ad-01cf-4239-8cce-750deae7f4ef" providerId="ADAL" clId="{D5085ABD-D722-4CB6-A6FB-9B8A3461E949}" dt="2022-12-11T11:44:56.023" v="7660" actId="165"/>
          <ac:spMkLst>
            <pc:docMk/>
            <pc:sldMk cId="2115225907" sldId="263"/>
            <ac:spMk id="20" creationId="{58B782ED-663F-4F4F-85D3-48CFBC507962}"/>
          </ac:spMkLst>
        </pc:spChg>
        <pc:spChg chg="mod ord topLvl">
          <ac:chgData name="Ettore Minelli" userId="7870a1ad-01cf-4239-8cce-750deae7f4ef" providerId="ADAL" clId="{D5085ABD-D722-4CB6-A6FB-9B8A3461E949}" dt="2022-12-11T11:44:56.023" v="7660" actId="165"/>
          <ac:spMkLst>
            <pc:docMk/>
            <pc:sldMk cId="2115225907" sldId="263"/>
            <ac:spMk id="21" creationId="{E58589EB-C171-472D-BE2B-C62ED43D654E}"/>
          </ac:spMkLst>
        </pc:spChg>
        <pc:spChg chg="mod ord topLvl">
          <ac:chgData name="Ettore Minelli" userId="7870a1ad-01cf-4239-8cce-750deae7f4ef" providerId="ADAL" clId="{D5085ABD-D722-4CB6-A6FB-9B8A3461E949}" dt="2022-12-11T11:44:56.023" v="7660" actId="165"/>
          <ac:spMkLst>
            <pc:docMk/>
            <pc:sldMk cId="2115225907" sldId="263"/>
            <ac:spMk id="22" creationId="{29B2BDF4-3B60-4AF4-B62E-E3FD1FE28059}"/>
          </ac:spMkLst>
        </pc:spChg>
        <pc:spChg chg="mod ord topLvl">
          <ac:chgData name="Ettore Minelli" userId="7870a1ad-01cf-4239-8cce-750deae7f4ef" providerId="ADAL" clId="{D5085ABD-D722-4CB6-A6FB-9B8A3461E949}" dt="2022-12-11T11:44:56.023" v="7660" actId="165"/>
          <ac:spMkLst>
            <pc:docMk/>
            <pc:sldMk cId="2115225907" sldId="263"/>
            <ac:spMk id="23" creationId="{AA4AABD9-5AD7-473A-9699-FE56A89AFB43}"/>
          </ac:spMkLst>
        </pc:spChg>
        <pc:spChg chg="mod ord topLvl">
          <ac:chgData name="Ettore Minelli" userId="7870a1ad-01cf-4239-8cce-750deae7f4ef" providerId="ADAL" clId="{D5085ABD-D722-4CB6-A6FB-9B8A3461E949}" dt="2022-12-11T11:44:56.023" v="7660" actId="165"/>
          <ac:spMkLst>
            <pc:docMk/>
            <pc:sldMk cId="2115225907" sldId="263"/>
            <ac:spMk id="25" creationId="{642A7171-5180-477F-B5B4-C0B18B04F0A0}"/>
          </ac:spMkLst>
        </pc:spChg>
        <pc:spChg chg="del mod topLvl">
          <ac:chgData name="Ettore Minelli" userId="7870a1ad-01cf-4239-8cce-750deae7f4ef" providerId="ADAL" clId="{D5085ABD-D722-4CB6-A6FB-9B8A3461E949}" dt="2022-12-09T18:47:44.469" v="4055" actId="478"/>
          <ac:spMkLst>
            <pc:docMk/>
            <pc:sldMk cId="2115225907" sldId="263"/>
            <ac:spMk id="35" creationId="{87D272EC-9D8D-4169-A1C9-80ACE587B473}"/>
          </ac:spMkLst>
        </pc:spChg>
        <pc:spChg chg="mod ord topLvl">
          <ac:chgData name="Ettore Minelli" userId="7870a1ad-01cf-4239-8cce-750deae7f4ef" providerId="ADAL" clId="{D5085ABD-D722-4CB6-A6FB-9B8A3461E949}" dt="2022-12-11T11:44:56.023" v="7660" actId="165"/>
          <ac:spMkLst>
            <pc:docMk/>
            <pc:sldMk cId="2115225907" sldId="263"/>
            <ac:spMk id="36" creationId="{31CE8502-082C-4C9A-8AFE-0ED20B128136}"/>
          </ac:spMkLst>
        </pc:spChg>
        <pc:spChg chg="mod ord topLvl">
          <ac:chgData name="Ettore Minelli" userId="7870a1ad-01cf-4239-8cce-750deae7f4ef" providerId="ADAL" clId="{D5085ABD-D722-4CB6-A6FB-9B8A3461E949}" dt="2022-12-11T11:44:56.023" v="7660" actId="165"/>
          <ac:spMkLst>
            <pc:docMk/>
            <pc:sldMk cId="2115225907" sldId="263"/>
            <ac:spMk id="37" creationId="{FD5ACB36-03E4-4F19-B775-44D602AD5C81}"/>
          </ac:spMkLst>
        </pc:spChg>
        <pc:spChg chg="add mod ord">
          <ac:chgData name="Ettore Minelli" userId="7870a1ad-01cf-4239-8cce-750deae7f4ef" providerId="ADAL" clId="{D5085ABD-D722-4CB6-A6FB-9B8A3461E949}" dt="2022-12-11T11:44:56.023" v="7660" actId="165"/>
          <ac:spMkLst>
            <pc:docMk/>
            <pc:sldMk cId="2115225907" sldId="263"/>
            <ac:spMk id="38" creationId="{4CF08F0D-3150-462D-BC95-09976F4BCF94}"/>
          </ac:spMkLst>
        </pc:spChg>
        <pc:spChg chg="add mod ord">
          <ac:chgData name="Ettore Minelli" userId="7870a1ad-01cf-4239-8cce-750deae7f4ef" providerId="ADAL" clId="{D5085ABD-D722-4CB6-A6FB-9B8A3461E949}" dt="2022-12-11T11:44:56.023" v="7660" actId="165"/>
          <ac:spMkLst>
            <pc:docMk/>
            <pc:sldMk cId="2115225907" sldId="263"/>
            <ac:spMk id="40" creationId="{594BB8D4-FF6D-4DBD-A21B-9ED5135F5B9A}"/>
          </ac:spMkLst>
        </pc:spChg>
        <pc:spChg chg="add mod topLvl">
          <ac:chgData name="Ettore Minelli" userId="7870a1ad-01cf-4239-8cce-750deae7f4ef" providerId="ADAL" clId="{D5085ABD-D722-4CB6-A6FB-9B8A3461E949}" dt="2022-12-11T11:44:56.023" v="7660" actId="165"/>
          <ac:spMkLst>
            <pc:docMk/>
            <pc:sldMk cId="2115225907" sldId="263"/>
            <ac:spMk id="41" creationId="{5A9D1CAA-AFA7-45AA-AC03-2872F85EB1D9}"/>
          </ac:spMkLst>
        </pc:spChg>
        <pc:spChg chg="add mod topLvl">
          <ac:chgData name="Ettore Minelli" userId="7870a1ad-01cf-4239-8cce-750deae7f4ef" providerId="ADAL" clId="{D5085ABD-D722-4CB6-A6FB-9B8A3461E949}" dt="2022-12-11T11:44:56.023" v="7660" actId="165"/>
          <ac:spMkLst>
            <pc:docMk/>
            <pc:sldMk cId="2115225907" sldId="263"/>
            <ac:spMk id="43" creationId="{5AA4E9BD-1B21-42E2-81D1-62366BDA4C37}"/>
          </ac:spMkLst>
        </pc:spChg>
        <pc:grpChg chg="add del mod">
          <ac:chgData name="Ettore Minelli" userId="7870a1ad-01cf-4239-8cce-750deae7f4ef" providerId="ADAL" clId="{D5085ABD-D722-4CB6-A6FB-9B8A3461E949}" dt="2022-12-09T18:43:46.073" v="4020" actId="165"/>
          <ac:grpSpMkLst>
            <pc:docMk/>
            <pc:sldMk cId="2115225907" sldId="263"/>
            <ac:grpSpMk id="10" creationId="{9438C20C-4556-472B-9717-7261FA71E638}"/>
          </ac:grpSpMkLst>
        </pc:grpChg>
        <pc:grpChg chg="del mod topLvl">
          <ac:chgData name="Ettore Minelli" userId="7870a1ad-01cf-4239-8cce-750deae7f4ef" providerId="ADAL" clId="{D5085ABD-D722-4CB6-A6FB-9B8A3461E949}" dt="2022-12-09T18:44:11.946" v="4022" actId="165"/>
          <ac:grpSpMkLst>
            <pc:docMk/>
            <pc:sldMk cId="2115225907" sldId="263"/>
            <ac:grpSpMk id="11" creationId="{FBC7314A-CE4F-47EF-87CE-2F712449D1E5}"/>
          </ac:grpSpMkLst>
        </pc:grpChg>
        <pc:grpChg chg="add mod topLvl">
          <ac:chgData name="Ettore Minelli" userId="7870a1ad-01cf-4239-8cce-750deae7f4ef" providerId="ADAL" clId="{D5085ABD-D722-4CB6-A6FB-9B8A3461E949}" dt="2022-12-11T11:44:56.023" v="7660" actId="165"/>
          <ac:grpSpMkLst>
            <pc:docMk/>
            <pc:sldMk cId="2115225907" sldId="263"/>
            <ac:grpSpMk id="39" creationId="{4879DCAC-6EE2-40B1-8D27-CB669B6145A2}"/>
          </ac:grpSpMkLst>
        </pc:grpChg>
        <pc:grpChg chg="add del mod">
          <ac:chgData name="Ettore Minelli" userId="7870a1ad-01cf-4239-8cce-750deae7f4ef" providerId="ADAL" clId="{D5085ABD-D722-4CB6-A6FB-9B8A3461E949}" dt="2022-12-11T11:44:56.023" v="7660" actId="165"/>
          <ac:grpSpMkLst>
            <pc:docMk/>
            <pc:sldMk cId="2115225907" sldId="263"/>
            <ac:grpSpMk id="42" creationId="{71F21293-951F-4706-8AB1-49842E395546}"/>
          </ac:grpSpMkLst>
        </pc:grpChg>
        <pc:graphicFrameChg chg="mod">
          <ac:chgData name="Ettore Minelli" userId="7870a1ad-01cf-4239-8cce-750deae7f4ef" providerId="ADAL" clId="{D5085ABD-D722-4CB6-A6FB-9B8A3461E949}" dt="2022-12-11T10:25:29.758" v="6641"/>
          <ac:graphicFrameMkLst>
            <pc:docMk/>
            <pc:sldMk cId="2115225907" sldId="263"/>
            <ac:graphicFrameMk id="4" creationId="{3AA458C4-3EB1-48A0-AAA9-70FC54800D3B}"/>
          </ac:graphicFrameMkLst>
        </pc:graphicFrameChg>
        <pc:graphicFrameChg chg="del">
          <ac:chgData name="Ettore Minelli" userId="7870a1ad-01cf-4239-8cce-750deae7f4ef" providerId="ADAL" clId="{D5085ABD-D722-4CB6-A6FB-9B8A3461E949}" dt="2022-12-05T14:34:08.330" v="2912" actId="478"/>
          <ac:graphicFrameMkLst>
            <pc:docMk/>
            <pc:sldMk cId="2115225907" sldId="263"/>
            <ac:graphicFrameMk id="10" creationId="{7A568193-EC74-40CD-92E8-467F37377308}"/>
          </ac:graphicFrameMkLst>
        </pc:graphicFrameChg>
        <pc:picChg chg="mod">
          <ac:chgData name="Ettore Minelli" userId="7870a1ad-01cf-4239-8cce-750deae7f4ef" providerId="ADAL" clId="{D5085ABD-D722-4CB6-A6FB-9B8A3461E949}" dt="2022-12-09T18:53:16.152" v="6024"/>
          <ac:picMkLst>
            <pc:docMk/>
            <pc:sldMk cId="2115225907" sldId="263"/>
            <ac:picMk id="1026" creationId="{30BE5FDF-37BB-48B5-8A21-2FD0E33FE3A6}"/>
          </ac:picMkLst>
        </pc:picChg>
        <pc:cxnChg chg="mod ord topLvl">
          <ac:chgData name="Ettore Minelli" userId="7870a1ad-01cf-4239-8cce-750deae7f4ef" providerId="ADAL" clId="{D5085ABD-D722-4CB6-A6FB-9B8A3461E949}" dt="2022-12-11T11:44:56.023" v="7660" actId="165"/>
          <ac:cxnSpMkLst>
            <pc:docMk/>
            <pc:sldMk cId="2115225907" sldId="263"/>
            <ac:cxnSpMk id="13" creationId="{3DF67451-6F38-413C-B8D6-4372D090B909}"/>
          </ac:cxnSpMkLst>
        </pc:cxnChg>
        <pc:cxnChg chg="mod ord topLvl">
          <ac:chgData name="Ettore Minelli" userId="7870a1ad-01cf-4239-8cce-750deae7f4ef" providerId="ADAL" clId="{D5085ABD-D722-4CB6-A6FB-9B8A3461E949}" dt="2022-12-11T11:44:56.023" v="7660" actId="165"/>
          <ac:cxnSpMkLst>
            <pc:docMk/>
            <pc:sldMk cId="2115225907" sldId="263"/>
            <ac:cxnSpMk id="14" creationId="{E5D69B38-42FF-4743-8D00-FB117AF383DA}"/>
          </ac:cxnSpMkLst>
        </pc:cxnChg>
        <pc:cxnChg chg="mod ord topLvl">
          <ac:chgData name="Ettore Minelli" userId="7870a1ad-01cf-4239-8cce-750deae7f4ef" providerId="ADAL" clId="{D5085ABD-D722-4CB6-A6FB-9B8A3461E949}" dt="2022-12-11T11:44:56.023" v="7660" actId="165"/>
          <ac:cxnSpMkLst>
            <pc:docMk/>
            <pc:sldMk cId="2115225907" sldId="263"/>
            <ac:cxnSpMk id="17" creationId="{00AF54DD-2C49-4E41-BE6D-E24A1564DF2B}"/>
          </ac:cxnSpMkLst>
        </pc:cxnChg>
        <pc:cxnChg chg="mod ord topLvl">
          <ac:chgData name="Ettore Minelli" userId="7870a1ad-01cf-4239-8cce-750deae7f4ef" providerId="ADAL" clId="{D5085ABD-D722-4CB6-A6FB-9B8A3461E949}" dt="2022-12-11T11:44:56.023" v="7660" actId="165"/>
          <ac:cxnSpMkLst>
            <pc:docMk/>
            <pc:sldMk cId="2115225907" sldId="263"/>
            <ac:cxnSpMk id="24" creationId="{03C81AD3-E3A4-45DD-B5FA-98BE8C92E2EC}"/>
          </ac:cxnSpMkLst>
        </pc:cxnChg>
        <pc:cxnChg chg="mod ord topLvl">
          <ac:chgData name="Ettore Minelli" userId="7870a1ad-01cf-4239-8cce-750deae7f4ef" providerId="ADAL" clId="{D5085ABD-D722-4CB6-A6FB-9B8A3461E949}" dt="2022-12-11T11:44:56.023" v="7660" actId="165"/>
          <ac:cxnSpMkLst>
            <pc:docMk/>
            <pc:sldMk cId="2115225907" sldId="263"/>
            <ac:cxnSpMk id="26" creationId="{1EA60218-0EF0-4D12-A628-EB4E21DB6D88}"/>
          </ac:cxnSpMkLst>
        </pc:cxnChg>
        <pc:cxnChg chg="mod ord topLvl">
          <ac:chgData name="Ettore Minelli" userId="7870a1ad-01cf-4239-8cce-750deae7f4ef" providerId="ADAL" clId="{D5085ABD-D722-4CB6-A6FB-9B8A3461E949}" dt="2022-12-11T11:44:56.023" v="7660" actId="165"/>
          <ac:cxnSpMkLst>
            <pc:docMk/>
            <pc:sldMk cId="2115225907" sldId="263"/>
            <ac:cxnSpMk id="27" creationId="{41C04D88-9839-4A67-AC9C-D58D38C3B6EC}"/>
          </ac:cxnSpMkLst>
        </pc:cxnChg>
        <pc:cxnChg chg="mod ord topLvl">
          <ac:chgData name="Ettore Minelli" userId="7870a1ad-01cf-4239-8cce-750deae7f4ef" providerId="ADAL" clId="{D5085ABD-D722-4CB6-A6FB-9B8A3461E949}" dt="2022-12-11T11:44:56.023" v="7660" actId="165"/>
          <ac:cxnSpMkLst>
            <pc:docMk/>
            <pc:sldMk cId="2115225907" sldId="263"/>
            <ac:cxnSpMk id="28" creationId="{105C8ADD-2810-453A-AB4B-7AC4E2475D7A}"/>
          </ac:cxnSpMkLst>
        </pc:cxnChg>
        <pc:cxnChg chg="del mod topLvl">
          <ac:chgData name="Ettore Minelli" userId="7870a1ad-01cf-4239-8cce-750deae7f4ef" providerId="ADAL" clId="{D5085ABD-D722-4CB6-A6FB-9B8A3461E949}" dt="2022-12-09T18:44:15.824" v="4025" actId="478"/>
          <ac:cxnSpMkLst>
            <pc:docMk/>
            <pc:sldMk cId="2115225907" sldId="263"/>
            <ac:cxnSpMk id="29" creationId="{0D285AC9-18FA-4DD1-82B7-0E026BDE462F}"/>
          </ac:cxnSpMkLst>
        </pc:cxnChg>
        <pc:cxnChg chg="del mod topLvl">
          <ac:chgData name="Ettore Minelli" userId="7870a1ad-01cf-4239-8cce-750deae7f4ef" providerId="ADAL" clId="{D5085ABD-D722-4CB6-A6FB-9B8A3461E949}" dt="2022-12-09T18:44:14.236" v="4023" actId="478"/>
          <ac:cxnSpMkLst>
            <pc:docMk/>
            <pc:sldMk cId="2115225907" sldId="263"/>
            <ac:cxnSpMk id="30" creationId="{8317F094-4B3E-4B2C-8624-024C0AE8E51E}"/>
          </ac:cxnSpMkLst>
        </pc:cxnChg>
        <pc:cxnChg chg="mod ord topLvl">
          <ac:chgData name="Ettore Minelli" userId="7870a1ad-01cf-4239-8cce-750deae7f4ef" providerId="ADAL" clId="{D5085ABD-D722-4CB6-A6FB-9B8A3461E949}" dt="2022-12-11T11:44:56.023" v="7660" actId="165"/>
          <ac:cxnSpMkLst>
            <pc:docMk/>
            <pc:sldMk cId="2115225907" sldId="263"/>
            <ac:cxnSpMk id="31" creationId="{42733F6B-D6D6-49CE-80BC-21F19DBCE10E}"/>
          </ac:cxnSpMkLst>
        </pc:cxnChg>
        <pc:cxnChg chg="mod ord topLvl">
          <ac:chgData name="Ettore Minelli" userId="7870a1ad-01cf-4239-8cce-750deae7f4ef" providerId="ADAL" clId="{D5085ABD-D722-4CB6-A6FB-9B8A3461E949}" dt="2022-12-11T11:44:56.023" v="7660" actId="165"/>
          <ac:cxnSpMkLst>
            <pc:docMk/>
            <pc:sldMk cId="2115225907" sldId="263"/>
            <ac:cxnSpMk id="32" creationId="{AD0EA266-7725-4251-8321-0D26A592DE2E}"/>
          </ac:cxnSpMkLst>
        </pc:cxnChg>
        <pc:cxnChg chg="del mod topLvl">
          <ac:chgData name="Ettore Minelli" userId="7870a1ad-01cf-4239-8cce-750deae7f4ef" providerId="ADAL" clId="{D5085ABD-D722-4CB6-A6FB-9B8A3461E949}" dt="2022-12-09T18:47:38.199" v="4054" actId="478"/>
          <ac:cxnSpMkLst>
            <pc:docMk/>
            <pc:sldMk cId="2115225907" sldId="263"/>
            <ac:cxnSpMk id="33" creationId="{CB703487-01AA-49FD-8F4F-8160449D16D7}"/>
          </ac:cxnSpMkLst>
        </pc:cxnChg>
        <pc:cxnChg chg="del mod topLvl">
          <ac:chgData name="Ettore Minelli" userId="7870a1ad-01cf-4239-8cce-750deae7f4ef" providerId="ADAL" clId="{D5085ABD-D722-4CB6-A6FB-9B8A3461E949}" dt="2022-12-09T18:47:32.306" v="4052" actId="478"/>
          <ac:cxnSpMkLst>
            <pc:docMk/>
            <pc:sldMk cId="2115225907" sldId="263"/>
            <ac:cxnSpMk id="34" creationId="{51DCBB50-E791-4DE9-9AA5-FE55586946CA}"/>
          </ac:cxnSpMkLst>
        </pc:cxnChg>
      </pc:sldChg>
      <pc:sldChg chg="add del">
        <pc:chgData name="Ettore Minelli" userId="7870a1ad-01cf-4239-8cce-750deae7f4ef" providerId="ADAL" clId="{D5085ABD-D722-4CB6-A6FB-9B8A3461E949}" dt="2022-12-05T14:30:57.527" v="2838" actId="47"/>
        <pc:sldMkLst>
          <pc:docMk/>
          <pc:sldMk cId="3489616361" sldId="263"/>
        </pc:sldMkLst>
      </pc:sldChg>
      <pc:sldChg chg="addSp delSp modSp add mod">
        <pc:chgData name="Ettore Minelli" userId="7870a1ad-01cf-4239-8cce-750deae7f4ef" providerId="ADAL" clId="{D5085ABD-D722-4CB6-A6FB-9B8A3461E949}" dt="2022-12-11T11:15:25.773" v="7156" actId="2084"/>
        <pc:sldMkLst>
          <pc:docMk/>
          <pc:sldMk cId="1161635531" sldId="264"/>
        </pc:sldMkLst>
        <pc:spChg chg="mod">
          <ac:chgData name="Ettore Minelli" userId="7870a1ad-01cf-4239-8cce-750deae7f4ef" providerId="ADAL" clId="{D5085ABD-D722-4CB6-A6FB-9B8A3461E949}" dt="2022-12-09T19:10:10.702" v="6361" actId="20577"/>
          <ac:spMkLst>
            <pc:docMk/>
            <pc:sldMk cId="1161635531" sldId="264"/>
            <ac:spMk id="2" creationId="{C5E8BAFC-CF07-471F-BA02-4BA18594B316}"/>
          </ac:spMkLst>
        </pc:spChg>
        <pc:spChg chg="add mod">
          <ac:chgData name="Ettore Minelli" userId="7870a1ad-01cf-4239-8cce-750deae7f4ef" providerId="ADAL" clId="{D5085ABD-D722-4CB6-A6FB-9B8A3461E949}" dt="2022-12-05T14:49:20.111" v="2921"/>
          <ac:spMkLst>
            <pc:docMk/>
            <pc:sldMk cId="1161635531" sldId="264"/>
            <ac:spMk id="12" creationId="{9CE3CA2D-668C-4F3B-878F-287EE9386321}"/>
          </ac:spMkLst>
        </pc:spChg>
        <pc:spChg chg="mod">
          <ac:chgData name="Ettore Minelli" userId="7870a1ad-01cf-4239-8cce-750deae7f4ef" providerId="ADAL" clId="{D5085ABD-D722-4CB6-A6FB-9B8A3461E949}" dt="2022-12-05T14:49:13.896" v="2920" actId="5793"/>
          <ac:spMkLst>
            <pc:docMk/>
            <pc:sldMk cId="1161635531" sldId="264"/>
            <ac:spMk id="15" creationId="{2CF0CF0A-5EF8-4774-B838-8A27680D94FC}"/>
          </ac:spMkLst>
        </pc:spChg>
        <pc:spChg chg="add mod">
          <ac:chgData name="Ettore Minelli" userId="7870a1ad-01cf-4239-8cce-750deae7f4ef" providerId="ADAL" clId="{D5085ABD-D722-4CB6-A6FB-9B8A3461E949}" dt="2022-12-05T14:49:20.111" v="2921"/>
          <ac:spMkLst>
            <pc:docMk/>
            <pc:sldMk cId="1161635531" sldId="264"/>
            <ac:spMk id="18" creationId="{224B8AFF-9E6D-4C6F-9C77-B12820BE206A}"/>
          </ac:spMkLst>
        </pc:spChg>
        <pc:spChg chg="add mod">
          <ac:chgData name="Ettore Minelli" userId="7870a1ad-01cf-4239-8cce-750deae7f4ef" providerId="ADAL" clId="{D5085ABD-D722-4CB6-A6FB-9B8A3461E949}" dt="2022-12-05T14:49:20.111" v="2921"/>
          <ac:spMkLst>
            <pc:docMk/>
            <pc:sldMk cId="1161635531" sldId="264"/>
            <ac:spMk id="19" creationId="{86346836-DC1C-4D50-B9A6-5732024A179A}"/>
          </ac:spMkLst>
        </pc:spChg>
        <pc:spChg chg="add mod">
          <ac:chgData name="Ettore Minelli" userId="7870a1ad-01cf-4239-8cce-750deae7f4ef" providerId="ADAL" clId="{D5085ABD-D722-4CB6-A6FB-9B8A3461E949}" dt="2022-12-05T14:49:20.111" v="2921"/>
          <ac:spMkLst>
            <pc:docMk/>
            <pc:sldMk cId="1161635531" sldId="264"/>
            <ac:spMk id="20" creationId="{BC213BEC-EBB8-45BD-AE4B-9513330DD530}"/>
          </ac:spMkLst>
        </pc:spChg>
        <pc:spChg chg="add mod">
          <ac:chgData name="Ettore Minelli" userId="7870a1ad-01cf-4239-8cce-750deae7f4ef" providerId="ADAL" clId="{D5085ABD-D722-4CB6-A6FB-9B8A3461E949}" dt="2022-12-05T14:49:20.111" v="2921"/>
          <ac:spMkLst>
            <pc:docMk/>
            <pc:sldMk cId="1161635531" sldId="264"/>
            <ac:spMk id="21" creationId="{29DB851F-8F81-47CF-8ABF-777276948048}"/>
          </ac:spMkLst>
        </pc:spChg>
        <pc:spChg chg="add mod">
          <ac:chgData name="Ettore Minelli" userId="7870a1ad-01cf-4239-8cce-750deae7f4ef" providerId="ADAL" clId="{D5085ABD-D722-4CB6-A6FB-9B8A3461E949}" dt="2022-12-05T14:49:20.111" v="2921"/>
          <ac:spMkLst>
            <pc:docMk/>
            <pc:sldMk cId="1161635531" sldId="264"/>
            <ac:spMk id="22" creationId="{E4A5CD0B-9C2B-4A4B-9ED7-278FF37EC18F}"/>
          </ac:spMkLst>
        </pc:spChg>
        <pc:spChg chg="add mod">
          <ac:chgData name="Ettore Minelli" userId="7870a1ad-01cf-4239-8cce-750deae7f4ef" providerId="ADAL" clId="{D5085ABD-D722-4CB6-A6FB-9B8A3461E949}" dt="2022-12-05T14:49:20.111" v="2921"/>
          <ac:spMkLst>
            <pc:docMk/>
            <pc:sldMk cId="1161635531" sldId="264"/>
            <ac:spMk id="23" creationId="{DE715164-7C65-4967-A0AF-4EF9CDEC9161}"/>
          </ac:spMkLst>
        </pc:spChg>
        <pc:spChg chg="add mod">
          <ac:chgData name="Ettore Minelli" userId="7870a1ad-01cf-4239-8cce-750deae7f4ef" providerId="ADAL" clId="{D5085ABD-D722-4CB6-A6FB-9B8A3461E949}" dt="2022-12-05T14:49:20.111" v="2921"/>
          <ac:spMkLst>
            <pc:docMk/>
            <pc:sldMk cId="1161635531" sldId="264"/>
            <ac:spMk id="25" creationId="{06604799-7B38-422E-95A8-3069CF0E7498}"/>
          </ac:spMkLst>
        </pc:spChg>
        <pc:spChg chg="add mod">
          <ac:chgData name="Ettore Minelli" userId="7870a1ad-01cf-4239-8cce-750deae7f4ef" providerId="ADAL" clId="{D5085ABD-D722-4CB6-A6FB-9B8A3461E949}" dt="2022-12-05T14:49:20.111" v="2921"/>
          <ac:spMkLst>
            <pc:docMk/>
            <pc:sldMk cId="1161635531" sldId="264"/>
            <ac:spMk id="35" creationId="{5AF25E34-ABEB-4FD3-B9D1-5A3EA770F17B}"/>
          </ac:spMkLst>
        </pc:spChg>
        <pc:spChg chg="add mod">
          <ac:chgData name="Ettore Minelli" userId="7870a1ad-01cf-4239-8cce-750deae7f4ef" providerId="ADAL" clId="{D5085ABD-D722-4CB6-A6FB-9B8A3461E949}" dt="2022-12-05T14:49:20.111" v="2921"/>
          <ac:spMkLst>
            <pc:docMk/>
            <pc:sldMk cId="1161635531" sldId="264"/>
            <ac:spMk id="36" creationId="{FA2E87B9-7E08-45AE-8B34-695CB7613FE3}"/>
          </ac:spMkLst>
        </pc:spChg>
        <pc:spChg chg="add mod">
          <ac:chgData name="Ettore Minelli" userId="7870a1ad-01cf-4239-8cce-750deae7f4ef" providerId="ADAL" clId="{D5085ABD-D722-4CB6-A6FB-9B8A3461E949}" dt="2022-12-05T14:49:20.111" v="2921"/>
          <ac:spMkLst>
            <pc:docMk/>
            <pc:sldMk cId="1161635531" sldId="264"/>
            <ac:spMk id="37" creationId="{512CB3BB-D5BA-4C6D-9FDA-59A57FD6DE44}"/>
          </ac:spMkLst>
        </pc:spChg>
        <pc:grpChg chg="add del mod">
          <ac:chgData name="Ettore Minelli" userId="7870a1ad-01cf-4239-8cce-750deae7f4ef" providerId="ADAL" clId="{D5085ABD-D722-4CB6-A6FB-9B8A3461E949}" dt="2022-12-05T15:05:07.538" v="2927" actId="478"/>
          <ac:grpSpMkLst>
            <pc:docMk/>
            <pc:sldMk cId="1161635531" sldId="264"/>
            <ac:grpSpMk id="10" creationId="{61584617-B012-4E99-B14C-382D904B9C5E}"/>
          </ac:grpSpMkLst>
        </pc:grpChg>
        <pc:grpChg chg="add mod">
          <ac:chgData name="Ettore Minelli" userId="7870a1ad-01cf-4239-8cce-750deae7f4ef" providerId="ADAL" clId="{D5085ABD-D722-4CB6-A6FB-9B8A3461E949}" dt="2022-12-05T14:49:20.111" v="2921"/>
          <ac:grpSpMkLst>
            <pc:docMk/>
            <pc:sldMk cId="1161635531" sldId="264"/>
            <ac:grpSpMk id="11" creationId="{4A5A2257-468A-4580-9808-EE2DD471EAD4}"/>
          </ac:grpSpMkLst>
        </pc:grpChg>
        <pc:graphicFrameChg chg="add del mod modGraphic">
          <ac:chgData name="Ettore Minelli" userId="7870a1ad-01cf-4239-8cce-750deae7f4ef" providerId="ADAL" clId="{D5085ABD-D722-4CB6-A6FB-9B8A3461E949}" dt="2022-12-11T11:15:25.773" v="7156" actId="2084"/>
          <ac:graphicFrameMkLst>
            <pc:docMk/>
            <pc:sldMk cId="1161635531" sldId="264"/>
            <ac:graphicFrameMk id="3" creationId="{24238FFF-A6B8-4FAA-AB04-31D013A3B1D0}"/>
          </ac:graphicFrameMkLst>
        </pc:graphicFrameChg>
        <pc:cxnChg chg="add mod">
          <ac:chgData name="Ettore Minelli" userId="7870a1ad-01cf-4239-8cce-750deae7f4ef" providerId="ADAL" clId="{D5085ABD-D722-4CB6-A6FB-9B8A3461E949}" dt="2022-12-05T14:49:20.111" v="2921"/>
          <ac:cxnSpMkLst>
            <pc:docMk/>
            <pc:sldMk cId="1161635531" sldId="264"/>
            <ac:cxnSpMk id="13" creationId="{DA29842D-E738-42B8-9CE9-48F17EAE8573}"/>
          </ac:cxnSpMkLst>
        </pc:cxnChg>
        <pc:cxnChg chg="add mod">
          <ac:chgData name="Ettore Minelli" userId="7870a1ad-01cf-4239-8cce-750deae7f4ef" providerId="ADAL" clId="{D5085ABD-D722-4CB6-A6FB-9B8A3461E949}" dt="2022-12-05T14:49:20.111" v="2921"/>
          <ac:cxnSpMkLst>
            <pc:docMk/>
            <pc:sldMk cId="1161635531" sldId="264"/>
            <ac:cxnSpMk id="14" creationId="{6D1BE5F1-C1A5-41D6-B4A9-F1D777AE5A80}"/>
          </ac:cxnSpMkLst>
        </pc:cxnChg>
        <pc:cxnChg chg="add mod">
          <ac:chgData name="Ettore Minelli" userId="7870a1ad-01cf-4239-8cce-750deae7f4ef" providerId="ADAL" clId="{D5085ABD-D722-4CB6-A6FB-9B8A3461E949}" dt="2022-12-05T14:49:20.111" v="2921"/>
          <ac:cxnSpMkLst>
            <pc:docMk/>
            <pc:sldMk cId="1161635531" sldId="264"/>
            <ac:cxnSpMk id="17" creationId="{F55E82E4-4BCE-49F7-879C-69AD20994D53}"/>
          </ac:cxnSpMkLst>
        </pc:cxnChg>
        <pc:cxnChg chg="add mod">
          <ac:chgData name="Ettore Minelli" userId="7870a1ad-01cf-4239-8cce-750deae7f4ef" providerId="ADAL" clId="{D5085ABD-D722-4CB6-A6FB-9B8A3461E949}" dt="2022-12-05T14:49:20.111" v="2921"/>
          <ac:cxnSpMkLst>
            <pc:docMk/>
            <pc:sldMk cId="1161635531" sldId="264"/>
            <ac:cxnSpMk id="24" creationId="{F3CE30A4-75F0-47A1-9917-0740DF6C0834}"/>
          </ac:cxnSpMkLst>
        </pc:cxnChg>
        <pc:cxnChg chg="add mod">
          <ac:chgData name="Ettore Minelli" userId="7870a1ad-01cf-4239-8cce-750deae7f4ef" providerId="ADAL" clId="{D5085ABD-D722-4CB6-A6FB-9B8A3461E949}" dt="2022-12-05T14:49:20.111" v="2921"/>
          <ac:cxnSpMkLst>
            <pc:docMk/>
            <pc:sldMk cId="1161635531" sldId="264"/>
            <ac:cxnSpMk id="26" creationId="{A855A497-BD1C-4F4C-8442-1704387BB525}"/>
          </ac:cxnSpMkLst>
        </pc:cxnChg>
        <pc:cxnChg chg="add mod">
          <ac:chgData name="Ettore Minelli" userId="7870a1ad-01cf-4239-8cce-750deae7f4ef" providerId="ADAL" clId="{D5085ABD-D722-4CB6-A6FB-9B8A3461E949}" dt="2022-12-05T14:49:20.111" v="2921"/>
          <ac:cxnSpMkLst>
            <pc:docMk/>
            <pc:sldMk cId="1161635531" sldId="264"/>
            <ac:cxnSpMk id="27" creationId="{48218CA5-95A4-47D3-AA39-67ABB3DA6364}"/>
          </ac:cxnSpMkLst>
        </pc:cxnChg>
        <pc:cxnChg chg="add mod">
          <ac:chgData name="Ettore Minelli" userId="7870a1ad-01cf-4239-8cce-750deae7f4ef" providerId="ADAL" clId="{D5085ABD-D722-4CB6-A6FB-9B8A3461E949}" dt="2022-12-05T14:49:20.111" v="2921"/>
          <ac:cxnSpMkLst>
            <pc:docMk/>
            <pc:sldMk cId="1161635531" sldId="264"/>
            <ac:cxnSpMk id="28" creationId="{D98C71FE-ABB8-4D38-B65E-03FC13E1135C}"/>
          </ac:cxnSpMkLst>
        </pc:cxnChg>
        <pc:cxnChg chg="add mod">
          <ac:chgData name="Ettore Minelli" userId="7870a1ad-01cf-4239-8cce-750deae7f4ef" providerId="ADAL" clId="{D5085ABD-D722-4CB6-A6FB-9B8A3461E949}" dt="2022-12-05T14:49:20.111" v="2921"/>
          <ac:cxnSpMkLst>
            <pc:docMk/>
            <pc:sldMk cId="1161635531" sldId="264"/>
            <ac:cxnSpMk id="29" creationId="{338AA302-C833-4D9C-96A1-7C77DB94E132}"/>
          </ac:cxnSpMkLst>
        </pc:cxnChg>
        <pc:cxnChg chg="add mod">
          <ac:chgData name="Ettore Minelli" userId="7870a1ad-01cf-4239-8cce-750deae7f4ef" providerId="ADAL" clId="{D5085ABD-D722-4CB6-A6FB-9B8A3461E949}" dt="2022-12-05T14:49:20.111" v="2921"/>
          <ac:cxnSpMkLst>
            <pc:docMk/>
            <pc:sldMk cId="1161635531" sldId="264"/>
            <ac:cxnSpMk id="30" creationId="{6929127A-DEED-4E60-9BA5-62B1A1B8B1A9}"/>
          </ac:cxnSpMkLst>
        </pc:cxnChg>
        <pc:cxnChg chg="add mod">
          <ac:chgData name="Ettore Minelli" userId="7870a1ad-01cf-4239-8cce-750deae7f4ef" providerId="ADAL" clId="{D5085ABD-D722-4CB6-A6FB-9B8A3461E949}" dt="2022-12-05T14:49:20.111" v="2921"/>
          <ac:cxnSpMkLst>
            <pc:docMk/>
            <pc:sldMk cId="1161635531" sldId="264"/>
            <ac:cxnSpMk id="31" creationId="{6F5B54B9-CE6D-475A-A8B1-708BB4D976DD}"/>
          </ac:cxnSpMkLst>
        </pc:cxnChg>
        <pc:cxnChg chg="add mod">
          <ac:chgData name="Ettore Minelli" userId="7870a1ad-01cf-4239-8cce-750deae7f4ef" providerId="ADAL" clId="{D5085ABD-D722-4CB6-A6FB-9B8A3461E949}" dt="2022-12-05T14:49:20.111" v="2921"/>
          <ac:cxnSpMkLst>
            <pc:docMk/>
            <pc:sldMk cId="1161635531" sldId="264"/>
            <ac:cxnSpMk id="32" creationId="{35AAFE48-E8C5-49A4-B410-B61A8A1ACEBC}"/>
          </ac:cxnSpMkLst>
        </pc:cxnChg>
        <pc:cxnChg chg="add mod">
          <ac:chgData name="Ettore Minelli" userId="7870a1ad-01cf-4239-8cce-750deae7f4ef" providerId="ADAL" clId="{D5085ABD-D722-4CB6-A6FB-9B8A3461E949}" dt="2022-12-05T14:49:20.111" v="2921"/>
          <ac:cxnSpMkLst>
            <pc:docMk/>
            <pc:sldMk cId="1161635531" sldId="264"/>
            <ac:cxnSpMk id="33" creationId="{521F9D7C-9D9C-4C25-ADFB-94AE84B27104}"/>
          </ac:cxnSpMkLst>
        </pc:cxnChg>
        <pc:cxnChg chg="add mod">
          <ac:chgData name="Ettore Minelli" userId="7870a1ad-01cf-4239-8cce-750deae7f4ef" providerId="ADAL" clId="{D5085ABD-D722-4CB6-A6FB-9B8A3461E949}" dt="2022-12-05T14:49:20.111" v="2921"/>
          <ac:cxnSpMkLst>
            <pc:docMk/>
            <pc:sldMk cId="1161635531" sldId="264"/>
            <ac:cxnSpMk id="34" creationId="{3CFDED2B-01B1-4CF6-B71B-00BD17D5E408}"/>
          </ac:cxnSpMkLst>
        </pc:cxnChg>
      </pc:sldChg>
      <pc:sldChg chg="addSp delSp modSp add del mod ord">
        <pc:chgData name="Ettore Minelli" userId="7870a1ad-01cf-4239-8cce-750deae7f4ef" providerId="ADAL" clId="{D5085ABD-D722-4CB6-A6FB-9B8A3461E949}" dt="2022-12-09T19:13:06.382" v="6367"/>
        <pc:sldMkLst>
          <pc:docMk/>
          <pc:sldMk cId="823127600" sldId="265"/>
        </pc:sldMkLst>
        <pc:spChg chg="add del mod">
          <ac:chgData name="Ettore Minelli" userId="7870a1ad-01cf-4239-8cce-750deae7f4ef" providerId="ADAL" clId="{D5085ABD-D722-4CB6-A6FB-9B8A3461E949}" dt="2022-12-05T15:25:06.813" v="3046" actId="478"/>
          <ac:spMkLst>
            <pc:docMk/>
            <pc:sldMk cId="823127600" sldId="265"/>
            <ac:spMk id="8" creationId="{48AF7975-83B4-48A7-B9FB-B074842CD2D0}"/>
          </ac:spMkLst>
        </pc:spChg>
        <pc:spChg chg="add mod">
          <ac:chgData name="Ettore Minelli" userId="7870a1ad-01cf-4239-8cce-750deae7f4ef" providerId="ADAL" clId="{D5085ABD-D722-4CB6-A6FB-9B8A3461E949}" dt="2022-12-05T15:23:46.046" v="2998"/>
          <ac:spMkLst>
            <pc:docMk/>
            <pc:sldMk cId="823127600" sldId="265"/>
            <ac:spMk id="13" creationId="{9A7406D0-D441-418F-A15C-00EEBAAEEDBB}"/>
          </ac:spMkLst>
        </pc:spChg>
        <pc:spChg chg="del">
          <ac:chgData name="Ettore Minelli" userId="7870a1ad-01cf-4239-8cce-750deae7f4ef" providerId="ADAL" clId="{D5085ABD-D722-4CB6-A6FB-9B8A3461E949}" dt="2022-12-05T15:24:15.875" v="3000" actId="478"/>
          <ac:spMkLst>
            <pc:docMk/>
            <pc:sldMk cId="823127600" sldId="265"/>
            <ac:spMk id="15" creationId="{2CF0CF0A-5EF8-4774-B838-8A27680D94FC}"/>
          </ac:spMkLst>
        </pc:spChg>
        <pc:spChg chg="mod">
          <ac:chgData name="Ettore Minelli" userId="7870a1ad-01cf-4239-8cce-750deae7f4ef" providerId="ADAL" clId="{D5085ABD-D722-4CB6-A6FB-9B8A3461E949}" dt="2022-12-05T15:32:37.940" v="3152" actId="20577"/>
          <ac:spMkLst>
            <pc:docMk/>
            <pc:sldMk cId="823127600" sldId="265"/>
            <ac:spMk id="16" creationId="{6A1D0711-6C04-41FE-8C4D-618851F6D4CD}"/>
          </ac:spMkLst>
        </pc:spChg>
        <pc:spChg chg="add mod">
          <ac:chgData name="Ettore Minelli" userId="7870a1ad-01cf-4239-8cce-750deae7f4ef" providerId="ADAL" clId="{D5085ABD-D722-4CB6-A6FB-9B8A3461E949}" dt="2022-12-05T15:23:46.046" v="2998"/>
          <ac:spMkLst>
            <pc:docMk/>
            <pc:sldMk cId="823127600" sldId="265"/>
            <ac:spMk id="19" creationId="{814F2266-B44C-4A7B-BBD5-156DE59482DC}"/>
          </ac:spMkLst>
        </pc:spChg>
        <pc:spChg chg="add mod">
          <ac:chgData name="Ettore Minelli" userId="7870a1ad-01cf-4239-8cce-750deae7f4ef" providerId="ADAL" clId="{D5085ABD-D722-4CB6-A6FB-9B8A3461E949}" dt="2022-12-05T15:23:46.046" v="2998"/>
          <ac:spMkLst>
            <pc:docMk/>
            <pc:sldMk cId="823127600" sldId="265"/>
            <ac:spMk id="20" creationId="{A3CDA9D9-EC2F-4182-967D-1A37E0CBE757}"/>
          </ac:spMkLst>
        </pc:spChg>
        <pc:spChg chg="add mod">
          <ac:chgData name="Ettore Minelli" userId="7870a1ad-01cf-4239-8cce-750deae7f4ef" providerId="ADAL" clId="{D5085ABD-D722-4CB6-A6FB-9B8A3461E949}" dt="2022-12-05T15:23:46.046" v="2998"/>
          <ac:spMkLst>
            <pc:docMk/>
            <pc:sldMk cId="823127600" sldId="265"/>
            <ac:spMk id="21" creationId="{96905958-C12E-4F5A-943D-31275656A8D3}"/>
          </ac:spMkLst>
        </pc:spChg>
        <pc:spChg chg="add mod">
          <ac:chgData name="Ettore Minelli" userId="7870a1ad-01cf-4239-8cce-750deae7f4ef" providerId="ADAL" clId="{D5085ABD-D722-4CB6-A6FB-9B8A3461E949}" dt="2022-12-05T15:23:46.046" v="2998"/>
          <ac:spMkLst>
            <pc:docMk/>
            <pc:sldMk cId="823127600" sldId="265"/>
            <ac:spMk id="22" creationId="{349CBD39-3102-4926-86C1-A31304C8A8D7}"/>
          </ac:spMkLst>
        </pc:spChg>
        <pc:spChg chg="add mod">
          <ac:chgData name="Ettore Minelli" userId="7870a1ad-01cf-4239-8cce-750deae7f4ef" providerId="ADAL" clId="{D5085ABD-D722-4CB6-A6FB-9B8A3461E949}" dt="2022-12-05T15:23:46.046" v="2998"/>
          <ac:spMkLst>
            <pc:docMk/>
            <pc:sldMk cId="823127600" sldId="265"/>
            <ac:spMk id="23" creationId="{482A6AC4-8188-4468-99A6-343DCF6D5C7C}"/>
          </ac:spMkLst>
        </pc:spChg>
        <pc:spChg chg="add mod">
          <ac:chgData name="Ettore Minelli" userId="7870a1ad-01cf-4239-8cce-750deae7f4ef" providerId="ADAL" clId="{D5085ABD-D722-4CB6-A6FB-9B8A3461E949}" dt="2022-12-05T15:23:46.046" v="2998"/>
          <ac:spMkLst>
            <pc:docMk/>
            <pc:sldMk cId="823127600" sldId="265"/>
            <ac:spMk id="24" creationId="{CD11C4C8-74B6-4C36-AAC5-15798EAED26C}"/>
          </ac:spMkLst>
        </pc:spChg>
        <pc:spChg chg="add mod">
          <ac:chgData name="Ettore Minelli" userId="7870a1ad-01cf-4239-8cce-750deae7f4ef" providerId="ADAL" clId="{D5085ABD-D722-4CB6-A6FB-9B8A3461E949}" dt="2022-12-05T15:23:46.046" v="2998"/>
          <ac:spMkLst>
            <pc:docMk/>
            <pc:sldMk cId="823127600" sldId="265"/>
            <ac:spMk id="26" creationId="{92E986D0-51D1-4C22-8518-D17CF560CD7D}"/>
          </ac:spMkLst>
        </pc:spChg>
        <pc:spChg chg="add mod">
          <ac:chgData name="Ettore Minelli" userId="7870a1ad-01cf-4239-8cce-750deae7f4ef" providerId="ADAL" clId="{D5085ABD-D722-4CB6-A6FB-9B8A3461E949}" dt="2022-12-05T15:23:46.046" v="2998"/>
          <ac:spMkLst>
            <pc:docMk/>
            <pc:sldMk cId="823127600" sldId="265"/>
            <ac:spMk id="36" creationId="{1B4DD6E2-4CA5-491A-9BFF-2BBAA1ECD45D}"/>
          </ac:spMkLst>
        </pc:spChg>
        <pc:spChg chg="add mod">
          <ac:chgData name="Ettore Minelli" userId="7870a1ad-01cf-4239-8cce-750deae7f4ef" providerId="ADAL" clId="{D5085ABD-D722-4CB6-A6FB-9B8A3461E949}" dt="2022-12-05T15:23:46.046" v="2998"/>
          <ac:spMkLst>
            <pc:docMk/>
            <pc:sldMk cId="823127600" sldId="265"/>
            <ac:spMk id="37" creationId="{444FB327-DFFF-4818-A365-1E7C5131DE73}"/>
          </ac:spMkLst>
        </pc:spChg>
        <pc:spChg chg="add mod">
          <ac:chgData name="Ettore Minelli" userId="7870a1ad-01cf-4239-8cce-750deae7f4ef" providerId="ADAL" clId="{D5085ABD-D722-4CB6-A6FB-9B8A3461E949}" dt="2022-12-05T15:23:46.046" v="2998"/>
          <ac:spMkLst>
            <pc:docMk/>
            <pc:sldMk cId="823127600" sldId="265"/>
            <ac:spMk id="38" creationId="{A680DC46-703A-44CF-8A7D-75AB0D137BA9}"/>
          </ac:spMkLst>
        </pc:spChg>
        <pc:spChg chg="add mod">
          <ac:chgData name="Ettore Minelli" userId="7870a1ad-01cf-4239-8cce-750deae7f4ef" providerId="ADAL" clId="{D5085ABD-D722-4CB6-A6FB-9B8A3461E949}" dt="2022-12-05T15:31:10.110" v="3058" actId="552"/>
          <ac:spMkLst>
            <pc:docMk/>
            <pc:sldMk cId="823127600" sldId="265"/>
            <ac:spMk id="39" creationId="{09BF3F0C-2484-42CC-A3D3-66B4C71A58FB}"/>
          </ac:spMkLst>
        </pc:spChg>
        <pc:grpChg chg="add mod">
          <ac:chgData name="Ettore Minelli" userId="7870a1ad-01cf-4239-8cce-750deae7f4ef" providerId="ADAL" clId="{D5085ABD-D722-4CB6-A6FB-9B8A3461E949}" dt="2022-12-05T15:31:10.110" v="3058" actId="552"/>
          <ac:grpSpMkLst>
            <pc:docMk/>
            <pc:sldMk cId="823127600" sldId="265"/>
            <ac:grpSpMk id="11" creationId="{0670179D-1172-4F7A-8352-C33D35110F76}"/>
          </ac:grpSpMkLst>
        </pc:grpChg>
        <pc:grpChg chg="add mod">
          <ac:chgData name="Ettore Minelli" userId="7870a1ad-01cf-4239-8cce-750deae7f4ef" providerId="ADAL" clId="{D5085ABD-D722-4CB6-A6FB-9B8A3461E949}" dt="2022-12-05T15:23:46.046" v="2998"/>
          <ac:grpSpMkLst>
            <pc:docMk/>
            <pc:sldMk cId="823127600" sldId="265"/>
            <ac:grpSpMk id="12" creationId="{6B3D356E-56AB-4037-978B-E35497BEEAFD}"/>
          </ac:grpSpMkLst>
        </pc:grpChg>
        <pc:graphicFrameChg chg="del">
          <ac:chgData name="Ettore Minelli" userId="7870a1ad-01cf-4239-8cce-750deae7f4ef" providerId="ADAL" clId="{D5085ABD-D722-4CB6-A6FB-9B8A3461E949}" dt="2022-12-05T15:23:34.013" v="2997" actId="478"/>
          <ac:graphicFrameMkLst>
            <pc:docMk/>
            <pc:sldMk cId="823127600" sldId="265"/>
            <ac:graphicFrameMk id="3" creationId="{24238FFF-A6B8-4FAA-AB04-31D013A3B1D0}"/>
          </ac:graphicFrameMkLst>
        </pc:graphicFrameChg>
        <pc:graphicFrameChg chg="mod">
          <ac:chgData name="Ettore Minelli" userId="7870a1ad-01cf-4239-8cce-750deae7f4ef" providerId="ADAL" clId="{D5085ABD-D722-4CB6-A6FB-9B8A3461E949}" dt="2022-12-09T19:12:57.354" v="6365"/>
          <ac:graphicFrameMkLst>
            <pc:docMk/>
            <pc:sldMk cId="823127600" sldId="265"/>
            <ac:graphicFrameMk id="4" creationId="{3AA458C4-3EB1-48A0-AAA9-70FC54800D3B}"/>
          </ac:graphicFrameMkLst>
        </pc:graphicFrameChg>
        <pc:cxnChg chg="add mod">
          <ac:chgData name="Ettore Minelli" userId="7870a1ad-01cf-4239-8cce-750deae7f4ef" providerId="ADAL" clId="{D5085ABD-D722-4CB6-A6FB-9B8A3461E949}" dt="2022-12-05T15:23:46.046" v="2998"/>
          <ac:cxnSpMkLst>
            <pc:docMk/>
            <pc:sldMk cId="823127600" sldId="265"/>
            <ac:cxnSpMk id="14" creationId="{18A7A344-BF1D-481B-94E2-6FD33A51E9D8}"/>
          </ac:cxnSpMkLst>
        </pc:cxnChg>
        <pc:cxnChg chg="add mod">
          <ac:chgData name="Ettore Minelli" userId="7870a1ad-01cf-4239-8cce-750deae7f4ef" providerId="ADAL" clId="{D5085ABD-D722-4CB6-A6FB-9B8A3461E949}" dt="2022-12-05T15:23:46.046" v="2998"/>
          <ac:cxnSpMkLst>
            <pc:docMk/>
            <pc:sldMk cId="823127600" sldId="265"/>
            <ac:cxnSpMk id="17" creationId="{57F6AD58-266B-4172-BD45-8FA975301451}"/>
          </ac:cxnSpMkLst>
        </pc:cxnChg>
        <pc:cxnChg chg="add mod">
          <ac:chgData name="Ettore Minelli" userId="7870a1ad-01cf-4239-8cce-750deae7f4ef" providerId="ADAL" clId="{D5085ABD-D722-4CB6-A6FB-9B8A3461E949}" dt="2022-12-05T15:23:46.046" v="2998"/>
          <ac:cxnSpMkLst>
            <pc:docMk/>
            <pc:sldMk cId="823127600" sldId="265"/>
            <ac:cxnSpMk id="18" creationId="{50AD0D50-9A3F-4013-A343-E4D6FCDF12FB}"/>
          </ac:cxnSpMkLst>
        </pc:cxnChg>
        <pc:cxnChg chg="add mod">
          <ac:chgData name="Ettore Minelli" userId="7870a1ad-01cf-4239-8cce-750deae7f4ef" providerId="ADAL" clId="{D5085ABD-D722-4CB6-A6FB-9B8A3461E949}" dt="2022-12-05T15:23:46.046" v="2998"/>
          <ac:cxnSpMkLst>
            <pc:docMk/>
            <pc:sldMk cId="823127600" sldId="265"/>
            <ac:cxnSpMk id="25" creationId="{550B0677-4BE6-45D8-AA8B-EA6358251176}"/>
          </ac:cxnSpMkLst>
        </pc:cxnChg>
        <pc:cxnChg chg="add mod">
          <ac:chgData name="Ettore Minelli" userId="7870a1ad-01cf-4239-8cce-750deae7f4ef" providerId="ADAL" clId="{D5085ABD-D722-4CB6-A6FB-9B8A3461E949}" dt="2022-12-05T15:23:46.046" v="2998"/>
          <ac:cxnSpMkLst>
            <pc:docMk/>
            <pc:sldMk cId="823127600" sldId="265"/>
            <ac:cxnSpMk id="27" creationId="{68A1712F-DAE6-43BE-82A0-D93508CE17D2}"/>
          </ac:cxnSpMkLst>
        </pc:cxnChg>
        <pc:cxnChg chg="add mod">
          <ac:chgData name="Ettore Minelli" userId="7870a1ad-01cf-4239-8cce-750deae7f4ef" providerId="ADAL" clId="{D5085ABD-D722-4CB6-A6FB-9B8A3461E949}" dt="2022-12-05T15:23:46.046" v="2998"/>
          <ac:cxnSpMkLst>
            <pc:docMk/>
            <pc:sldMk cId="823127600" sldId="265"/>
            <ac:cxnSpMk id="28" creationId="{04D83A63-7681-4A55-86DD-81D365743EF7}"/>
          </ac:cxnSpMkLst>
        </pc:cxnChg>
        <pc:cxnChg chg="add mod">
          <ac:chgData name="Ettore Minelli" userId="7870a1ad-01cf-4239-8cce-750deae7f4ef" providerId="ADAL" clId="{D5085ABD-D722-4CB6-A6FB-9B8A3461E949}" dt="2022-12-05T15:23:46.046" v="2998"/>
          <ac:cxnSpMkLst>
            <pc:docMk/>
            <pc:sldMk cId="823127600" sldId="265"/>
            <ac:cxnSpMk id="29" creationId="{4AAD5007-F65A-47FD-93EA-C7E3FFB48392}"/>
          </ac:cxnSpMkLst>
        </pc:cxnChg>
        <pc:cxnChg chg="add mod">
          <ac:chgData name="Ettore Minelli" userId="7870a1ad-01cf-4239-8cce-750deae7f4ef" providerId="ADAL" clId="{D5085ABD-D722-4CB6-A6FB-9B8A3461E949}" dt="2022-12-05T15:23:46.046" v="2998"/>
          <ac:cxnSpMkLst>
            <pc:docMk/>
            <pc:sldMk cId="823127600" sldId="265"/>
            <ac:cxnSpMk id="30" creationId="{0A6B832C-8EDA-41A2-94DB-126F9F60C541}"/>
          </ac:cxnSpMkLst>
        </pc:cxnChg>
        <pc:cxnChg chg="add mod">
          <ac:chgData name="Ettore Minelli" userId="7870a1ad-01cf-4239-8cce-750deae7f4ef" providerId="ADAL" clId="{D5085ABD-D722-4CB6-A6FB-9B8A3461E949}" dt="2022-12-05T15:23:46.046" v="2998"/>
          <ac:cxnSpMkLst>
            <pc:docMk/>
            <pc:sldMk cId="823127600" sldId="265"/>
            <ac:cxnSpMk id="31" creationId="{EB93B9C7-7A6C-4336-B06F-4151D19AF8E7}"/>
          </ac:cxnSpMkLst>
        </pc:cxnChg>
        <pc:cxnChg chg="add mod">
          <ac:chgData name="Ettore Minelli" userId="7870a1ad-01cf-4239-8cce-750deae7f4ef" providerId="ADAL" clId="{D5085ABD-D722-4CB6-A6FB-9B8A3461E949}" dt="2022-12-05T15:23:46.046" v="2998"/>
          <ac:cxnSpMkLst>
            <pc:docMk/>
            <pc:sldMk cId="823127600" sldId="265"/>
            <ac:cxnSpMk id="32" creationId="{5CC5CB27-BCAD-4B5D-A3AF-E40B23064D27}"/>
          </ac:cxnSpMkLst>
        </pc:cxnChg>
        <pc:cxnChg chg="add mod">
          <ac:chgData name="Ettore Minelli" userId="7870a1ad-01cf-4239-8cce-750deae7f4ef" providerId="ADAL" clId="{D5085ABD-D722-4CB6-A6FB-9B8A3461E949}" dt="2022-12-05T15:23:46.046" v="2998"/>
          <ac:cxnSpMkLst>
            <pc:docMk/>
            <pc:sldMk cId="823127600" sldId="265"/>
            <ac:cxnSpMk id="33" creationId="{089335FC-4713-4D4A-975B-F20D43923EBF}"/>
          </ac:cxnSpMkLst>
        </pc:cxnChg>
        <pc:cxnChg chg="add mod">
          <ac:chgData name="Ettore Minelli" userId="7870a1ad-01cf-4239-8cce-750deae7f4ef" providerId="ADAL" clId="{D5085ABD-D722-4CB6-A6FB-9B8A3461E949}" dt="2022-12-05T15:23:46.046" v="2998"/>
          <ac:cxnSpMkLst>
            <pc:docMk/>
            <pc:sldMk cId="823127600" sldId="265"/>
            <ac:cxnSpMk id="34" creationId="{D7865368-D6C7-4E74-8675-AEBDC410CB10}"/>
          </ac:cxnSpMkLst>
        </pc:cxnChg>
        <pc:cxnChg chg="add mod">
          <ac:chgData name="Ettore Minelli" userId="7870a1ad-01cf-4239-8cce-750deae7f4ef" providerId="ADAL" clId="{D5085ABD-D722-4CB6-A6FB-9B8A3461E949}" dt="2022-12-05T15:23:46.046" v="2998"/>
          <ac:cxnSpMkLst>
            <pc:docMk/>
            <pc:sldMk cId="823127600" sldId="265"/>
            <ac:cxnSpMk id="35" creationId="{C016F296-F090-48A7-9C12-38F7909EFB20}"/>
          </ac:cxnSpMkLst>
        </pc:cxnChg>
      </pc:sldChg>
      <pc:sldChg chg="addSp modSp add del mod ord">
        <pc:chgData name="Ettore Minelli" userId="7870a1ad-01cf-4239-8cce-750deae7f4ef" providerId="ADAL" clId="{D5085ABD-D722-4CB6-A6FB-9B8A3461E949}" dt="2022-12-11T11:34:56.751" v="7458" actId="47"/>
        <pc:sldMkLst>
          <pc:docMk/>
          <pc:sldMk cId="1113796363" sldId="266"/>
        </pc:sldMkLst>
        <pc:spChg chg="mod">
          <ac:chgData name="Ettore Minelli" userId="7870a1ad-01cf-4239-8cce-750deae7f4ef" providerId="ADAL" clId="{D5085ABD-D722-4CB6-A6FB-9B8A3461E949}" dt="2022-12-08T11:40:21.149" v="3157" actId="114"/>
          <ac:spMkLst>
            <pc:docMk/>
            <pc:sldMk cId="1113796363" sldId="266"/>
            <ac:spMk id="2" creationId="{C5E8BAFC-CF07-471F-BA02-4BA18594B316}"/>
          </ac:spMkLst>
        </pc:spChg>
        <pc:spChg chg="add mod">
          <ac:chgData name="Ettore Minelli" userId="7870a1ad-01cf-4239-8cce-750deae7f4ef" providerId="ADAL" clId="{D5085ABD-D722-4CB6-A6FB-9B8A3461E949}" dt="2022-12-08T12:24:29.226" v="3422" actId="1076"/>
          <ac:spMkLst>
            <pc:docMk/>
            <pc:sldMk cId="1113796363" sldId="266"/>
            <ac:spMk id="11" creationId="{F4C9C5BB-31B3-42D7-99EB-41B486E9DB33}"/>
          </ac:spMkLst>
        </pc:spChg>
        <pc:spChg chg="add mod">
          <ac:chgData name="Ettore Minelli" userId="7870a1ad-01cf-4239-8cce-750deae7f4ef" providerId="ADAL" clId="{D5085ABD-D722-4CB6-A6FB-9B8A3461E949}" dt="2022-12-11T11:09:09.636" v="7144" actId="2711"/>
          <ac:spMkLst>
            <pc:docMk/>
            <pc:sldMk cId="1113796363" sldId="266"/>
            <ac:spMk id="14" creationId="{CBE834BC-513F-4275-A974-E9B918207C6E}"/>
          </ac:spMkLst>
        </pc:spChg>
        <pc:spChg chg="mod">
          <ac:chgData name="Ettore Minelli" userId="7870a1ad-01cf-4239-8cce-750deae7f4ef" providerId="ADAL" clId="{D5085ABD-D722-4CB6-A6FB-9B8A3461E949}" dt="2022-12-08T12:36:42.504" v="3741" actId="20577"/>
          <ac:spMkLst>
            <pc:docMk/>
            <pc:sldMk cId="1113796363" sldId="266"/>
            <ac:spMk id="15" creationId="{2CF0CF0A-5EF8-4774-B838-8A27680D94FC}"/>
          </ac:spMkLst>
        </pc:spChg>
        <pc:spChg chg="mod">
          <ac:chgData name="Ettore Minelli" userId="7870a1ad-01cf-4239-8cce-750deae7f4ef" providerId="ADAL" clId="{D5085ABD-D722-4CB6-A6FB-9B8A3461E949}" dt="2022-12-08T12:24:45.286" v="3443" actId="20577"/>
          <ac:spMkLst>
            <pc:docMk/>
            <pc:sldMk cId="1113796363" sldId="266"/>
            <ac:spMk id="16" creationId="{6A1D0711-6C04-41FE-8C4D-618851F6D4CD}"/>
          </ac:spMkLst>
        </pc:spChg>
        <pc:spChg chg="add mod">
          <ac:chgData name="Ettore Minelli" userId="7870a1ad-01cf-4239-8cce-750deae7f4ef" providerId="ADAL" clId="{D5085ABD-D722-4CB6-A6FB-9B8A3461E949}" dt="2022-12-11T11:09:09.636" v="7144" actId="2711"/>
          <ac:spMkLst>
            <pc:docMk/>
            <pc:sldMk cId="1113796363" sldId="266"/>
            <ac:spMk id="18" creationId="{F61895A8-C7CE-4CFE-83DF-F343ECE04A9B}"/>
          </ac:spMkLst>
        </pc:spChg>
        <pc:spChg chg="add mod">
          <ac:chgData name="Ettore Minelli" userId="7870a1ad-01cf-4239-8cce-750deae7f4ef" providerId="ADAL" clId="{D5085ABD-D722-4CB6-A6FB-9B8A3461E949}" dt="2022-12-11T11:09:09.636" v="7144" actId="2711"/>
          <ac:spMkLst>
            <pc:docMk/>
            <pc:sldMk cId="1113796363" sldId="266"/>
            <ac:spMk id="19" creationId="{B4E2504B-EF96-4AEF-BA24-2C69156DDB5C}"/>
          </ac:spMkLst>
        </pc:spChg>
        <pc:spChg chg="add mod">
          <ac:chgData name="Ettore Minelli" userId="7870a1ad-01cf-4239-8cce-750deae7f4ef" providerId="ADAL" clId="{D5085ABD-D722-4CB6-A6FB-9B8A3461E949}" dt="2022-12-11T11:09:09.636" v="7144" actId="2711"/>
          <ac:spMkLst>
            <pc:docMk/>
            <pc:sldMk cId="1113796363" sldId="266"/>
            <ac:spMk id="24" creationId="{2C35A9A9-41A2-49A1-9FA0-3AAC314BDBC7}"/>
          </ac:spMkLst>
        </pc:spChg>
        <pc:spChg chg="add mod">
          <ac:chgData name="Ettore Minelli" userId="7870a1ad-01cf-4239-8cce-750deae7f4ef" providerId="ADAL" clId="{D5085ABD-D722-4CB6-A6FB-9B8A3461E949}" dt="2022-12-11T11:09:09.636" v="7144" actId="2711"/>
          <ac:spMkLst>
            <pc:docMk/>
            <pc:sldMk cId="1113796363" sldId="266"/>
            <ac:spMk id="25" creationId="{F972FDCF-06C4-471E-BBFF-0F86B68F95F6}"/>
          </ac:spMkLst>
        </pc:spChg>
        <pc:spChg chg="add mod">
          <ac:chgData name="Ettore Minelli" userId="7870a1ad-01cf-4239-8cce-750deae7f4ef" providerId="ADAL" clId="{D5085ABD-D722-4CB6-A6FB-9B8A3461E949}" dt="2022-12-11T11:09:09.636" v="7144" actId="2711"/>
          <ac:spMkLst>
            <pc:docMk/>
            <pc:sldMk cId="1113796363" sldId="266"/>
            <ac:spMk id="26" creationId="{0E68DEC4-0BF6-4827-897C-7C72BD311CFD}"/>
          </ac:spMkLst>
        </pc:spChg>
        <pc:grpChg chg="add mod">
          <ac:chgData name="Ettore Minelli" userId="7870a1ad-01cf-4239-8cce-750deae7f4ef" providerId="ADAL" clId="{D5085ABD-D722-4CB6-A6FB-9B8A3461E949}" dt="2022-12-08T12:30:40.007" v="3495" actId="1076"/>
          <ac:grpSpMkLst>
            <pc:docMk/>
            <pc:sldMk cId="1113796363" sldId="266"/>
            <ac:grpSpMk id="13" creationId="{EF86E105-8149-435D-9105-1ED1B16F732C}"/>
          </ac:grpSpMkLst>
        </pc:grpChg>
        <pc:graphicFrameChg chg="add mod modGraphic">
          <ac:chgData name="Ettore Minelli" userId="7870a1ad-01cf-4239-8cce-750deae7f4ef" providerId="ADAL" clId="{D5085ABD-D722-4CB6-A6FB-9B8A3461E949}" dt="2022-12-08T12:24:26.720" v="3421" actId="1076"/>
          <ac:graphicFrameMkLst>
            <pc:docMk/>
            <pc:sldMk cId="1113796363" sldId="266"/>
            <ac:graphicFrameMk id="8" creationId="{15BAC59F-E998-4E47-8870-0FD69367A323}"/>
          </ac:graphicFrameMkLst>
        </pc:graphicFrameChg>
        <pc:picChg chg="add mod">
          <ac:chgData name="Ettore Minelli" userId="7870a1ad-01cf-4239-8cce-750deae7f4ef" providerId="ADAL" clId="{D5085ABD-D722-4CB6-A6FB-9B8A3461E949}" dt="2022-12-08T12:30:34.753" v="3493"/>
          <ac:picMkLst>
            <pc:docMk/>
            <pc:sldMk cId="1113796363" sldId="266"/>
            <ac:picMk id="17" creationId="{73C39330-1275-418F-8987-1874EFC58BCF}"/>
          </ac:picMkLst>
        </pc:picChg>
        <pc:cxnChg chg="add mod">
          <ac:chgData name="Ettore Minelli" userId="7870a1ad-01cf-4239-8cce-750deae7f4ef" providerId="ADAL" clId="{D5085ABD-D722-4CB6-A6FB-9B8A3461E949}" dt="2022-12-08T12:30:34.753" v="3493"/>
          <ac:cxnSpMkLst>
            <pc:docMk/>
            <pc:sldMk cId="1113796363" sldId="266"/>
            <ac:cxnSpMk id="20" creationId="{E1124304-CF7D-4092-A26F-D500C40344A4}"/>
          </ac:cxnSpMkLst>
        </pc:cxnChg>
        <pc:cxnChg chg="add mod">
          <ac:chgData name="Ettore Minelli" userId="7870a1ad-01cf-4239-8cce-750deae7f4ef" providerId="ADAL" clId="{D5085ABD-D722-4CB6-A6FB-9B8A3461E949}" dt="2022-12-08T12:30:34.753" v="3493"/>
          <ac:cxnSpMkLst>
            <pc:docMk/>
            <pc:sldMk cId="1113796363" sldId="266"/>
            <ac:cxnSpMk id="21" creationId="{1F37BA02-A317-4932-8E8C-A56E39946DE3}"/>
          </ac:cxnSpMkLst>
        </pc:cxnChg>
        <pc:cxnChg chg="add mod">
          <ac:chgData name="Ettore Minelli" userId="7870a1ad-01cf-4239-8cce-750deae7f4ef" providerId="ADAL" clId="{D5085ABD-D722-4CB6-A6FB-9B8A3461E949}" dt="2022-12-08T12:30:34.753" v="3493"/>
          <ac:cxnSpMkLst>
            <pc:docMk/>
            <pc:sldMk cId="1113796363" sldId="266"/>
            <ac:cxnSpMk id="22" creationId="{34DC7CC6-B8FF-43CC-B706-925E1A9D4F7D}"/>
          </ac:cxnSpMkLst>
        </pc:cxnChg>
        <pc:cxnChg chg="add mod">
          <ac:chgData name="Ettore Minelli" userId="7870a1ad-01cf-4239-8cce-750deae7f4ef" providerId="ADAL" clId="{D5085ABD-D722-4CB6-A6FB-9B8A3461E949}" dt="2022-12-08T12:30:34.753" v="3493"/>
          <ac:cxnSpMkLst>
            <pc:docMk/>
            <pc:sldMk cId="1113796363" sldId="266"/>
            <ac:cxnSpMk id="23" creationId="{359C5BEE-FB3A-4DF6-8C4D-C138C138A28D}"/>
          </ac:cxnSpMkLst>
        </pc:cxnChg>
      </pc:sldChg>
      <pc:sldChg chg="modSp add mod ord">
        <pc:chgData name="Ettore Minelli" userId="7870a1ad-01cf-4239-8cce-750deae7f4ef" providerId="ADAL" clId="{D5085ABD-D722-4CB6-A6FB-9B8A3461E949}" dt="2022-12-08T12:51:44.170" v="4017" actId="20577"/>
        <pc:sldMkLst>
          <pc:docMk/>
          <pc:sldMk cId="144148667" sldId="267"/>
        </pc:sldMkLst>
        <pc:spChg chg="mod">
          <ac:chgData name="Ettore Minelli" userId="7870a1ad-01cf-4239-8cce-750deae7f4ef" providerId="ADAL" clId="{D5085ABD-D722-4CB6-A6FB-9B8A3461E949}" dt="2022-12-08T12:40:53.252" v="3753" actId="114"/>
          <ac:spMkLst>
            <pc:docMk/>
            <pc:sldMk cId="144148667" sldId="267"/>
            <ac:spMk id="2" creationId="{C5E8BAFC-CF07-471F-BA02-4BA18594B316}"/>
          </ac:spMkLst>
        </pc:spChg>
        <pc:spChg chg="mod">
          <ac:chgData name="Ettore Minelli" userId="7870a1ad-01cf-4239-8cce-750deae7f4ef" providerId="ADAL" clId="{D5085ABD-D722-4CB6-A6FB-9B8A3461E949}" dt="2022-12-08T12:51:44.170" v="4017" actId="20577"/>
          <ac:spMkLst>
            <pc:docMk/>
            <pc:sldMk cId="144148667" sldId="267"/>
            <ac:spMk id="15" creationId="{2CF0CF0A-5EF8-4774-B838-8A27680D94FC}"/>
          </ac:spMkLst>
        </pc:spChg>
      </pc:sldChg>
      <pc:sldChg chg="modSp mod">
        <pc:chgData name="Ettore Minelli" userId="7870a1ad-01cf-4239-8cce-750deae7f4ef" providerId="ADAL" clId="{D5085ABD-D722-4CB6-A6FB-9B8A3461E949}" dt="2022-12-11T11:08:21.410" v="7143" actId="2084"/>
        <pc:sldMkLst>
          <pc:docMk/>
          <pc:sldMk cId="163570398" sldId="268"/>
        </pc:sldMkLst>
        <pc:graphicFrameChg chg="modGraphic">
          <ac:chgData name="Ettore Minelli" userId="7870a1ad-01cf-4239-8cce-750deae7f4ef" providerId="ADAL" clId="{D5085ABD-D722-4CB6-A6FB-9B8A3461E949}" dt="2022-12-11T11:08:21.410" v="7143" actId="2084"/>
          <ac:graphicFrameMkLst>
            <pc:docMk/>
            <pc:sldMk cId="163570398" sldId="268"/>
            <ac:graphicFrameMk id="3" creationId="{254288FD-F55A-4AC8-B44E-4ECCD0A67F6E}"/>
          </ac:graphicFrameMkLst>
        </pc:graphicFrameChg>
      </pc:sldChg>
      <pc:sldChg chg="modSp mod">
        <pc:chgData name="Ettore Minelli" userId="7870a1ad-01cf-4239-8cce-750deae7f4ef" providerId="ADAL" clId="{D5085ABD-D722-4CB6-A6FB-9B8A3461E949}" dt="2022-12-11T11:59:25.627" v="8051" actId="20577"/>
        <pc:sldMkLst>
          <pc:docMk/>
          <pc:sldMk cId="2976347580" sldId="269"/>
        </pc:sldMkLst>
        <pc:spChg chg="mod">
          <ac:chgData name="Ettore Minelli" userId="7870a1ad-01cf-4239-8cce-750deae7f4ef" providerId="ADAL" clId="{D5085ABD-D722-4CB6-A6FB-9B8A3461E949}" dt="2022-12-11T11:07:34.204" v="7141"/>
          <ac:spMkLst>
            <pc:docMk/>
            <pc:sldMk cId="2976347580" sldId="269"/>
            <ac:spMk id="2" creationId="{C5E8BAFC-CF07-471F-BA02-4BA18594B316}"/>
          </ac:spMkLst>
        </pc:spChg>
        <pc:spChg chg="mod">
          <ac:chgData name="Ettore Minelli" userId="7870a1ad-01cf-4239-8cce-750deae7f4ef" providerId="ADAL" clId="{D5085ABD-D722-4CB6-A6FB-9B8A3461E949}" dt="2022-12-11T11:59:25.627" v="8051" actId="20577"/>
          <ac:spMkLst>
            <pc:docMk/>
            <pc:sldMk cId="2976347580" sldId="269"/>
            <ac:spMk id="15" creationId="{FBEEACC2-7A89-409C-AAD7-94A1B2A422AE}"/>
          </ac:spMkLst>
        </pc:spChg>
        <pc:spChg chg="mod">
          <ac:chgData name="Ettore Minelli" userId="7870a1ad-01cf-4239-8cce-750deae7f4ef" providerId="ADAL" clId="{D5085ABD-D722-4CB6-A6FB-9B8A3461E949}" dt="2022-12-11T11:04:54.138" v="7059" actId="5793"/>
          <ac:spMkLst>
            <pc:docMk/>
            <pc:sldMk cId="2976347580" sldId="269"/>
            <ac:spMk id="23" creationId="{EF2EE201-4ABB-44CF-858E-A35082CAFF68}"/>
          </ac:spMkLst>
        </pc:spChg>
        <pc:graphicFrameChg chg="modGraphic">
          <ac:chgData name="Ettore Minelli" userId="7870a1ad-01cf-4239-8cce-750deae7f4ef" providerId="ADAL" clId="{D5085ABD-D722-4CB6-A6FB-9B8A3461E949}" dt="2022-12-11T10:47:14.181" v="7000" actId="20577"/>
          <ac:graphicFrameMkLst>
            <pc:docMk/>
            <pc:sldMk cId="2976347580" sldId="269"/>
            <ac:graphicFrameMk id="8" creationId="{39DC2204-7AF4-4A6A-89C3-0A6646841230}"/>
          </ac:graphicFrameMkLst>
        </pc:graphicFrameChg>
        <pc:graphicFrameChg chg="modGraphic">
          <ac:chgData name="Ettore Minelli" userId="7870a1ad-01cf-4239-8cce-750deae7f4ef" providerId="ADAL" clId="{D5085ABD-D722-4CB6-A6FB-9B8A3461E949}" dt="2022-12-11T11:59:06.028" v="8043" actId="20577"/>
          <ac:graphicFrameMkLst>
            <pc:docMk/>
            <pc:sldMk cId="2976347580" sldId="269"/>
            <ac:graphicFrameMk id="9" creationId="{AA665307-0EC2-41B5-91D2-5ED0723718F1}"/>
          </ac:graphicFrameMkLst>
        </pc:graphicFrameChg>
      </pc:sldChg>
      <pc:sldChg chg="addSp delSp modSp add mod ord">
        <pc:chgData name="Ettore Minelli" userId="7870a1ad-01cf-4239-8cce-750deae7f4ef" providerId="ADAL" clId="{D5085ABD-D722-4CB6-A6FB-9B8A3461E949}" dt="2022-12-11T11:51:12.850" v="7753"/>
        <pc:sldMkLst>
          <pc:docMk/>
          <pc:sldMk cId="1834223401" sldId="270"/>
        </pc:sldMkLst>
        <pc:spChg chg="mod ord">
          <ac:chgData name="Ettore Minelli" userId="7870a1ad-01cf-4239-8cce-750deae7f4ef" providerId="ADAL" clId="{D5085ABD-D722-4CB6-A6FB-9B8A3461E949}" dt="2022-12-11T11:43:29.452" v="7588"/>
          <ac:spMkLst>
            <pc:docMk/>
            <pc:sldMk cId="1834223401" sldId="270"/>
            <ac:spMk id="2" creationId="{C5E8BAFC-CF07-471F-BA02-4BA18594B316}"/>
          </ac:spMkLst>
        </pc:spChg>
        <pc:spChg chg="mod ord">
          <ac:chgData name="Ettore Minelli" userId="7870a1ad-01cf-4239-8cce-750deae7f4ef" providerId="ADAL" clId="{D5085ABD-D722-4CB6-A6FB-9B8A3461E949}" dt="2022-12-11T11:43:29.451" v="7582"/>
          <ac:spMkLst>
            <pc:docMk/>
            <pc:sldMk cId="1834223401" sldId="270"/>
            <ac:spMk id="5" creationId="{5F63E7B1-527F-4B85-9E30-7B7C1B0189B2}"/>
          </ac:spMkLst>
        </pc:spChg>
        <pc:spChg chg="mod ord">
          <ac:chgData name="Ettore Minelli" userId="7870a1ad-01cf-4239-8cce-750deae7f4ef" providerId="ADAL" clId="{D5085ABD-D722-4CB6-A6FB-9B8A3461E949}" dt="2022-12-11T11:43:29.452" v="7584"/>
          <ac:spMkLst>
            <pc:docMk/>
            <pc:sldMk cId="1834223401" sldId="270"/>
            <ac:spMk id="6" creationId="{D0DBE77D-BB01-4090-90AC-FAD9A3EAECFF}"/>
          </ac:spMkLst>
        </pc:spChg>
        <pc:spChg chg="del mod ord">
          <ac:chgData name="Ettore Minelli" userId="7870a1ad-01cf-4239-8cce-750deae7f4ef" providerId="ADAL" clId="{D5085ABD-D722-4CB6-A6FB-9B8A3461E949}" dt="2022-12-11T11:36:48.043" v="7465" actId="478"/>
          <ac:spMkLst>
            <pc:docMk/>
            <pc:sldMk cId="1834223401" sldId="270"/>
            <ac:spMk id="7" creationId="{FE466A87-6A18-4682-8E23-2617350930F6}"/>
          </ac:spMkLst>
        </pc:spChg>
        <pc:spChg chg="add del mod">
          <ac:chgData name="Ettore Minelli" userId="7870a1ad-01cf-4239-8cce-750deae7f4ef" providerId="ADAL" clId="{D5085ABD-D722-4CB6-A6FB-9B8A3461E949}" dt="2022-12-11T10:03:22.150" v="6467" actId="478"/>
          <ac:spMkLst>
            <pc:docMk/>
            <pc:sldMk cId="1834223401" sldId="270"/>
            <ac:spMk id="12" creationId="{8EC91D54-CA3F-449A-85DF-D12B5B9FAAFB}"/>
          </ac:spMkLst>
        </pc:spChg>
        <pc:spChg chg="mod ord">
          <ac:chgData name="Ettore Minelli" userId="7870a1ad-01cf-4239-8cce-750deae7f4ef" providerId="ADAL" clId="{D5085ABD-D722-4CB6-A6FB-9B8A3461E949}" dt="2022-12-11T11:43:29.452" v="7586"/>
          <ac:spMkLst>
            <pc:docMk/>
            <pc:sldMk cId="1834223401" sldId="270"/>
            <ac:spMk id="15" creationId="{2CF0CF0A-5EF8-4774-B838-8A27680D94FC}"/>
          </ac:spMkLst>
        </pc:spChg>
        <pc:spChg chg="add mod ord">
          <ac:chgData name="Ettore Minelli" userId="7870a1ad-01cf-4239-8cce-750deae7f4ef" providerId="ADAL" clId="{D5085ABD-D722-4CB6-A6FB-9B8A3461E949}" dt="2022-12-11T11:46:15.090" v="7692" actId="2711"/>
          <ac:spMkLst>
            <pc:docMk/>
            <pc:sldMk cId="1834223401" sldId="270"/>
            <ac:spMk id="16" creationId="{B60F17D4-618A-41F0-9226-9BBAA3409A0A}"/>
          </ac:spMkLst>
        </pc:spChg>
        <pc:spChg chg="mod ord topLvl">
          <ac:chgData name="Ettore Minelli" userId="7870a1ad-01cf-4239-8cce-750deae7f4ef" providerId="ADAL" clId="{D5085ABD-D722-4CB6-A6FB-9B8A3461E949}" dt="2022-12-11T11:46:15.090" v="7692" actId="2711"/>
          <ac:spMkLst>
            <pc:docMk/>
            <pc:sldMk cId="1834223401" sldId="270"/>
            <ac:spMk id="18" creationId="{0368A043-C366-4020-82CA-5FE5405D4E37}"/>
          </ac:spMkLst>
        </pc:spChg>
        <pc:spChg chg="mod ord topLvl">
          <ac:chgData name="Ettore Minelli" userId="7870a1ad-01cf-4239-8cce-750deae7f4ef" providerId="ADAL" clId="{D5085ABD-D722-4CB6-A6FB-9B8A3461E949}" dt="2022-12-11T11:46:15.090" v="7692" actId="2711"/>
          <ac:spMkLst>
            <pc:docMk/>
            <pc:sldMk cId="1834223401" sldId="270"/>
            <ac:spMk id="19" creationId="{4134D1BD-6FEA-440F-AF31-E29175798CD7}"/>
          </ac:spMkLst>
        </pc:spChg>
        <pc:spChg chg="del mod topLvl">
          <ac:chgData name="Ettore Minelli" userId="7870a1ad-01cf-4239-8cce-750deae7f4ef" providerId="ADAL" clId="{D5085ABD-D722-4CB6-A6FB-9B8A3461E949}" dt="2022-12-11T09:55:58.958" v="6434" actId="478"/>
          <ac:spMkLst>
            <pc:docMk/>
            <pc:sldMk cId="1834223401" sldId="270"/>
            <ac:spMk id="20" creationId="{58B782ED-663F-4F4F-85D3-48CFBC507962}"/>
          </ac:spMkLst>
        </pc:spChg>
        <pc:spChg chg="del mod topLvl">
          <ac:chgData name="Ettore Minelli" userId="7870a1ad-01cf-4239-8cce-750deae7f4ef" providerId="ADAL" clId="{D5085ABD-D722-4CB6-A6FB-9B8A3461E949}" dt="2022-12-11T09:56:03.038" v="6436" actId="478"/>
          <ac:spMkLst>
            <pc:docMk/>
            <pc:sldMk cId="1834223401" sldId="270"/>
            <ac:spMk id="21" creationId="{E58589EB-C171-472D-BE2B-C62ED43D654E}"/>
          </ac:spMkLst>
        </pc:spChg>
        <pc:spChg chg="del mod topLvl">
          <ac:chgData name="Ettore Minelli" userId="7870a1ad-01cf-4239-8cce-750deae7f4ef" providerId="ADAL" clId="{D5085ABD-D722-4CB6-A6FB-9B8A3461E949}" dt="2022-12-11T09:56:03.038" v="6436" actId="478"/>
          <ac:spMkLst>
            <pc:docMk/>
            <pc:sldMk cId="1834223401" sldId="270"/>
            <ac:spMk id="22" creationId="{29B2BDF4-3B60-4AF4-B62E-E3FD1FE28059}"/>
          </ac:spMkLst>
        </pc:spChg>
        <pc:spChg chg="del mod topLvl">
          <ac:chgData name="Ettore Minelli" userId="7870a1ad-01cf-4239-8cce-750deae7f4ef" providerId="ADAL" clId="{D5085ABD-D722-4CB6-A6FB-9B8A3461E949}" dt="2022-12-11T09:55:31.380" v="6425" actId="478"/>
          <ac:spMkLst>
            <pc:docMk/>
            <pc:sldMk cId="1834223401" sldId="270"/>
            <ac:spMk id="23" creationId="{AA4AABD9-5AD7-473A-9699-FE56A89AFB43}"/>
          </ac:spMkLst>
        </pc:spChg>
        <pc:spChg chg="del mod topLvl">
          <ac:chgData name="Ettore Minelli" userId="7870a1ad-01cf-4239-8cce-750deae7f4ef" providerId="ADAL" clId="{D5085ABD-D722-4CB6-A6FB-9B8A3461E949}" dt="2022-12-11T09:56:00.230" v="6435" actId="478"/>
          <ac:spMkLst>
            <pc:docMk/>
            <pc:sldMk cId="1834223401" sldId="270"/>
            <ac:spMk id="25" creationId="{642A7171-5180-477F-B5B4-C0B18B04F0A0}"/>
          </ac:spMkLst>
        </pc:spChg>
        <pc:spChg chg="add del">
          <ac:chgData name="Ettore Minelli" userId="7870a1ad-01cf-4239-8cce-750deae7f4ef" providerId="ADAL" clId="{D5085ABD-D722-4CB6-A6FB-9B8A3461E949}" dt="2022-12-11T10:18:31.499" v="6619" actId="478"/>
          <ac:spMkLst>
            <pc:docMk/>
            <pc:sldMk cId="1834223401" sldId="270"/>
            <ac:spMk id="33" creationId="{728995FA-1463-4F1A-AD9F-57541F95B526}"/>
          </ac:spMkLst>
        </pc:spChg>
        <pc:spChg chg="del mod topLvl">
          <ac:chgData name="Ettore Minelli" userId="7870a1ad-01cf-4239-8cce-750deae7f4ef" providerId="ADAL" clId="{D5085ABD-D722-4CB6-A6FB-9B8A3461E949}" dt="2022-12-11T09:55:31.380" v="6425" actId="478"/>
          <ac:spMkLst>
            <pc:docMk/>
            <pc:sldMk cId="1834223401" sldId="270"/>
            <ac:spMk id="36" creationId="{31CE8502-082C-4C9A-8AFE-0ED20B128136}"/>
          </ac:spMkLst>
        </pc:spChg>
        <pc:spChg chg="del mod topLvl">
          <ac:chgData name="Ettore Minelli" userId="7870a1ad-01cf-4239-8cce-750deae7f4ef" providerId="ADAL" clId="{D5085ABD-D722-4CB6-A6FB-9B8A3461E949}" dt="2022-12-11T09:55:33.115" v="6427" actId="478"/>
          <ac:spMkLst>
            <pc:docMk/>
            <pc:sldMk cId="1834223401" sldId="270"/>
            <ac:spMk id="37" creationId="{FD5ACB36-03E4-4F19-B775-44D602AD5C81}"/>
          </ac:spMkLst>
        </pc:spChg>
        <pc:spChg chg="del mod topLvl">
          <ac:chgData name="Ettore Minelli" userId="7870a1ad-01cf-4239-8cce-750deae7f4ef" providerId="ADAL" clId="{D5085ABD-D722-4CB6-A6FB-9B8A3461E949}" dt="2022-12-11T09:39:44.773" v="6415" actId="478"/>
          <ac:spMkLst>
            <pc:docMk/>
            <pc:sldMk cId="1834223401" sldId="270"/>
            <ac:spMk id="38" creationId="{4CF08F0D-3150-462D-BC95-09976F4BCF94}"/>
          </ac:spMkLst>
        </pc:spChg>
        <pc:spChg chg="del mod topLvl">
          <ac:chgData name="Ettore Minelli" userId="7870a1ad-01cf-4239-8cce-750deae7f4ef" providerId="ADAL" clId="{D5085ABD-D722-4CB6-A6FB-9B8A3461E949}" dt="2022-12-11T09:39:46.714" v="6417" actId="478"/>
          <ac:spMkLst>
            <pc:docMk/>
            <pc:sldMk cId="1834223401" sldId="270"/>
            <ac:spMk id="40" creationId="{594BB8D4-FF6D-4DBD-A21B-9ED5135F5B9A}"/>
          </ac:spMkLst>
        </pc:spChg>
        <pc:spChg chg="del mod topLvl">
          <ac:chgData name="Ettore Minelli" userId="7870a1ad-01cf-4239-8cce-750deae7f4ef" providerId="ADAL" clId="{D5085ABD-D722-4CB6-A6FB-9B8A3461E949}" dt="2022-12-11T09:56:03.038" v="6436" actId="478"/>
          <ac:spMkLst>
            <pc:docMk/>
            <pc:sldMk cId="1834223401" sldId="270"/>
            <ac:spMk id="41" creationId="{5A9D1CAA-AFA7-45AA-AC03-2872F85EB1D9}"/>
          </ac:spMkLst>
        </pc:spChg>
        <pc:spChg chg="del mod topLvl">
          <ac:chgData name="Ettore Minelli" userId="7870a1ad-01cf-4239-8cce-750deae7f4ef" providerId="ADAL" clId="{D5085ABD-D722-4CB6-A6FB-9B8A3461E949}" dt="2022-12-11T09:56:03.038" v="6436" actId="478"/>
          <ac:spMkLst>
            <pc:docMk/>
            <pc:sldMk cId="1834223401" sldId="270"/>
            <ac:spMk id="43" creationId="{5AA4E9BD-1B21-42E2-81D1-62366BDA4C37}"/>
          </ac:spMkLst>
        </pc:spChg>
        <pc:spChg chg="add mod ord">
          <ac:chgData name="Ettore Minelli" userId="7870a1ad-01cf-4239-8cce-750deae7f4ef" providerId="ADAL" clId="{D5085ABD-D722-4CB6-A6FB-9B8A3461E949}" dt="2022-12-11T11:46:15.090" v="7692" actId="2711"/>
          <ac:spMkLst>
            <pc:docMk/>
            <pc:sldMk cId="1834223401" sldId="270"/>
            <ac:spMk id="44" creationId="{2F7B5FF8-5B3D-4841-86FB-103AC7C297F3}"/>
          </ac:spMkLst>
        </pc:spChg>
        <pc:spChg chg="add mod ord">
          <ac:chgData name="Ettore Minelli" userId="7870a1ad-01cf-4239-8cce-750deae7f4ef" providerId="ADAL" clId="{D5085ABD-D722-4CB6-A6FB-9B8A3461E949}" dt="2022-12-11T11:46:15.090" v="7692" actId="2711"/>
          <ac:spMkLst>
            <pc:docMk/>
            <pc:sldMk cId="1834223401" sldId="270"/>
            <ac:spMk id="47" creationId="{05E69369-EFC3-4BF7-8BB2-FCC6E9F46B04}"/>
          </ac:spMkLst>
        </pc:spChg>
        <pc:spChg chg="add mod ord">
          <ac:chgData name="Ettore Minelli" userId="7870a1ad-01cf-4239-8cce-750deae7f4ef" providerId="ADAL" clId="{D5085ABD-D722-4CB6-A6FB-9B8A3461E949}" dt="2022-12-11T11:46:15.090" v="7692" actId="2711"/>
          <ac:spMkLst>
            <pc:docMk/>
            <pc:sldMk cId="1834223401" sldId="270"/>
            <ac:spMk id="48" creationId="{696448A1-21B3-481A-ADFA-2ED8D391AACC}"/>
          </ac:spMkLst>
        </pc:spChg>
        <pc:spChg chg="add del mod">
          <ac:chgData name="Ettore Minelli" userId="7870a1ad-01cf-4239-8cce-750deae7f4ef" providerId="ADAL" clId="{D5085ABD-D722-4CB6-A6FB-9B8A3461E949}" dt="2022-12-11T10:06:45.012" v="6551" actId="478"/>
          <ac:spMkLst>
            <pc:docMk/>
            <pc:sldMk cId="1834223401" sldId="270"/>
            <ac:spMk id="49" creationId="{3541F66D-7BD8-4F1E-82AB-8F9F67F36AC2}"/>
          </ac:spMkLst>
        </pc:spChg>
        <pc:spChg chg="add mod ord">
          <ac:chgData name="Ettore Minelli" userId="7870a1ad-01cf-4239-8cce-750deae7f4ef" providerId="ADAL" clId="{D5085ABD-D722-4CB6-A6FB-9B8A3461E949}" dt="2022-12-11T11:46:15.090" v="7692" actId="2711"/>
          <ac:spMkLst>
            <pc:docMk/>
            <pc:sldMk cId="1834223401" sldId="270"/>
            <ac:spMk id="52" creationId="{AF579A5C-F133-4360-8C46-7A3403D7DE15}"/>
          </ac:spMkLst>
        </pc:spChg>
        <pc:spChg chg="add mod ord">
          <ac:chgData name="Ettore Minelli" userId="7870a1ad-01cf-4239-8cce-750deae7f4ef" providerId="ADAL" clId="{D5085ABD-D722-4CB6-A6FB-9B8A3461E949}" dt="2022-12-11T11:46:15.090" v="7692" actId="2711"/>
          <ac:spMkLst>
            <pc:docMk/>
            <pc:sldMk cId="1834223401" sldId="270"/>
            <ac:spMk id="53" creationId="{1AAB1A1B-648D-4383-B31F-86B5853C571D}"/>
          </ac:spMkLst>
        </pc:spChg>
        <pc:spChg chg="add mod ord">
          <ac:chgData name="Ettore Minelli" userId="7870a1ad-01cf-4239-8cce-750deae7f4ef" providerId="ADAL" clId="{D5085ABD-D722-4CB6-A6FB-9B8A3461E949}" dt="2022-12-11T11:46:15.090" v="7692" actId="2711"/>
          <ac:spMkLst>
            <pc:docMk/>
            <pc:sldMk cId="1834223401" sldId="270"/>
            <ac:spMk id="55" creationId="{9D223039-C341-44D8-9938-A52B390BEB05}"/>
          </ac:spMkLst>
        </pc:spChg>
        <pc:spChg chg="add mod ord">
          <ac:chgData name="Ettore Minelli" userId="7870a1ad-01cf-4239-8cce-750deae7f4ef" providerId="ADAL" clId="{D5085ABD-D722-4CB6-A6FB-9B8A3461E949}" dt="2022-12-11T11:46:15.090" v="7692" actId="2711"/>
          <ac:spMkLst>
            <pc:docMk/>
            <pc:sldMk cId="1834223401" sldId="270"/>
            <ac:spMk id="58" creationId="{91A80117-05C9-4D6F-9FDC-364288585590}"/>
          </ac:spMkLst>
        </pc:spChg>
        <pc:spChg chg="add mod ord">
          <ac:chgData name="Ettore Minelli" userId="7870a1ad-01cf-4239-8cce-750deae7f4ef" providerId="ADAL" clId="{D5085ABD-D722-4CB6-A6FB-9B8A3461E949}" dt="2022-12-11T11:46:15.090" v="7692" actId="2711"/>
          <ac:spMkLst>
            <pc:docMk/>
            <pc:sldMk cId="1834223401" sldId="270"/>
            <ac:spMk id="59" creationId="{8FCE2B9B-785B-433F-A640-E9DEF6BCC5C4}"/>
          </ac:spMkLst>
        </pc:spChg>
        <pc:spChg chg="add mod ord">
          <ac:chgData name="Ettore Minelli" userId="7870a1ad-01cf-4239-8cce-750deae7f4ef" providerId="ADAL" clId="{D5085ABD-D722-4CB6-A6FB-9B8A3461E949}" dt="2022-12-11T11:46:15.090" v="7692" actId="2711"/>
          <ac:spMkLst>
            <pc:docMk/>
            <pc:sldMk cId="1834223401" sldId="270"/>
            <ac:spMk id="60" creationId="{766B76BF-464A-4132-BF97-1D0F8128674B}"/>
          </ac:spMkLst>
        </pc:spChg>
        <pc:spChg chg="add mod ord">
          <ac:chgData name="Ettore Minelli" userId="7870a1ad-01cf-4239-8cce-750deae7f4ef" providerId="ADAL" clId="{D5085ABD-D722-4CB6-A6FB-9B8A3461E949}" dt="2022-12-11T11:43:29.458" v="7632"/>
          <ac:spMkLst>
            <pc:docMk/>
            <pc:sldMk cId="1834223401" sldId="270"/>
            <ac:spMk id="62" creationId="{A6236B6E-737A-413C-9541-EACACF499E5F}"/>
          </ac:spMkLst>
        </pc:spChg>
        <pc:spChg chg="add mod ord">
          <ac:chgData name="Ettore Minelli" userId="7870a1ad-01cf-4239-8cce-750deae7f4ef" providerId="ADAL" clId="{D5085ABD-D722-4CB6-A6FB-9B8A3461E949}" dt="2022-12-11T11:46:15.090" v="7692" actId="2711"/>
          <ac:spMkLst>
            <pc:docMk/>
            <pc:sldMk cId="1834223401" sldId="270"/>
            <ac:spMk id="74" creationId="{D97193D0-E91F-4CBA-8C60-97B264EC9D87}"/>
          </ac:spMkLst>
        </pc:spChg>
        <pc:spChg chg="add mod ord">
          <ac:chgData name="Ettore Minelli" userId="7870a1ad-01cf-4239-8cce-750deae7f4ef" providerId="ADAL" clId="{D5085ABD-D722-4CB6-A6FB-9B8A3461E949}" dt="2022-12-11T11:46:15.090" v="7692" actId="2711"/>
          <ac:spMkLst>
            <pc:docMk/>
            <pc:sldMk cId="1834223401" sldId="270"/>
            <ac:spMk id="75" creationId="{CE03A55B-A42F-46E9-B2DB-2327FA38CAC0}"/>
          </ac:spMkLst>
        </pc:spChg>
        <pc:spChg chg="add mod ord">
          <ac:chgData name="Ettore Minelli" userId="7870a1ad-01cf-4239-8cce-750deae7f4ef" providerId="ADAL" clId="{D5085ABD-D722-4CB6-A6FB-9B8A3461E949}" dt="2022-12-11T11:46:15.090" v="7692" actId="2711"/>
          <ac:spMkLst>
            <pc:docMk/>
            <pc:sldMk cId="1834223401" sldId="270"/>
            <ac:spMk id="76" creationId="{CD024759-D0FD-403D-B8F6-A467CE9459C2}"/>
          </ac:spMkLst>
        </pc:spChg>
        <pc:spChg chg="add mod">
          <ac:chgData name="Ettore Minelli" userId="7870a1ad-01cf-4239-8cce-750deae7f4ef" providerId="ADAL" clId="{D5085ABD-D722-4CB6-A6FB-9B8A3461E949}" dt="2022-12-11T11:47:50.563" v="7712" actId="20577"/>
          <ac:spMkLst>
            <pc:docMk/>
            <pc:sldMk cId="1834223401" sldId="270"/>
            <ac:spMk id="83" creationId="{3B0BC3F0-AA48-427A-BD5C-6422DB5D55BC}"/>
          </ac:spMkLst>
        </pc:spChg>
        <pc:spChg chg="add mod">
          <ac:chgData name="Ettore Minelli" userId="7870a1ad-01cf-4239-8cce-750deae7f4ef" providerId="ADAL" clId="{D5085ABD-D722-4CB6-A6FB-9B8A3461E949}" dt="2022-12-11T11:46:15.090" v="7692" actId="2711"/>
          <ac:spMkLst>
            <pc:docMk/>
            <pc:sldMk cId="1834223401" sldId="270"/>
            <ac:spMk id="84" creationId="{415C15C0-3BBF-4295-8F98-8BDE76047B29}"/>
          </ac:spMkLst>
        </pc:spChg>
        <pc:spChg chg="add mod">
          <ac:chgData name="Ettore Minelli" userId="7870a1ad-01cf-4239-8cce-750deae7f4ef" providerId="ADAL" clId="{D5085ABD-D722-4CB6-A6FB-9B8A3461E949}" dt="2022-12-11T11:46:15.090" v="7692" actId="2711"/>
          <ac:spMkLst>
            <pc:docMk/>
            <pc:sldMk cId="1834223401" sldId="270"/>
            <ac:spMk id="85" creationId="{D4D636AE-E4BD-4EDC-9BDE-2D6D9C326311}"/>
          </ac:spMkLst>
        </pc:spChg>
        <pc:spChg chg="add mod">
          <ac:chgData name="Ettore Minelli" userId="7870a1ad-01cf-4239-8cce-750deae7f4ef" providerId="ADAL" clId="{D5085ABD-D722-4CB6-A6FB-9B8A3461E949}" dt="2022-12-11T11:48:41.227" v="7721" actId="552"/>
          <ac:spMkLst>
            <pc:docMk/>
            <pc:sldMk cId="1834223401" sldId="270"/>
            <ac:spMk id="86" creationId="{89D6C90A-80EB-4E93-9742-9DDE56EF209B}"/>
          </ac:spMkLst>
        </pc:spChg>
        <pc:spChg chg="add mod">
          <ac:chgData name="Ettore Minelli" userId="7870a1ad-01cf-4239-8cce-750deae7f4ef" providerId="ADAL" clId="{D5085ABD-D722-4CB6-A6FB-9B8A3461E949}" dt="2022-12-11T11:49:08.418" v="7731" actId="1076"/>
          <ac:spMkLst>
            <pc:docMk/>
            <pc:sldMk cId="1834223401" sldId="270"/>
            <ac:spMk id="87" creationId="{6E1F7731-5F6C-47A5-A7C7-EC0E26710CDC}"/>
          </ac:spMkLst>
        </pc:spChg>
        <pc:spChg chg="add mod">
          <ac:chgData name="Ettore Minelli" userId="7870a1ad-01cf-4239-8cce-750deae7f4ef" providerId="ADAL" clId="{D5085ABD-D722-4CB6-A6FB-9B8A3461E949}" dt="2022-12-11T11:49:02.031" v="7730" actId="20577"/>
          <ac:spMkLst>
            <pc:docMk/>
            <pc:sldMk cId="1834223401" sldId="270"/>
            <ac:spMk id="97" creationId="{37723689-7E76-49F5-8CC6-3471327406C0}"/>
          </ac:spMkLst>
        </pc:spChg>
        <pc:spChg chg="add del mod">
          <ac:chgData name="Ettore Minelli" userId="7870a1ad-01cf-4239-8cce-750deae7f4ef" providerId="ADAL" clId="{D5085ABD-D722-4CB6-A6FB-9B8A3461E949}" dt="2022-12-11T11:48:52.647" v="7727"/>
          <ac:spMkLst>
            <pc:docMk/>
            <pc:sldMk cId="1834223401" sldId="270"/>
            <ac:spMk id="98" creationId="{ECDE47C5-EB8A-4D88-86D8-3B1934881EE2}"/>
          </ac:spMkLst>
        </pc:spChg>
        <pc:spChg chg="add del mod">
          <ac:chgData name="Ettore Minelli" userId="7870a1ad-01cf-4239-8cce-750deae7f4ef" providerId="ADAL" clId="{D5085ABD-D722-4CB6-A6FB-9B8A3461E949}" dt="2022-12-11T11:48:52.647" v="7727"/>
          <ac:spMkLst>
            <pc:docMk/>
            <pc:sldMk cId="1834223401" sldId="270"/>
            <ac:spMk id="99" creationId="{B85E66CF-2603-4049-93C0-D8F07CC3F82C}"/>
          </ac:spMkLst>
        </pc:spChg>
        <pc:spChg chg="add del mod">
          <ac:chgData name="Ettore Minelli" userId="7870a1ad-01cf-4239-8cce-750deae7f4ef" providerId="ADAL" clId="{D5085ABD-D722-4CB6-A6FB-9B8A3461E949}" dt="2022-12-11T11:48:52.647" v="7727"/>
          <ac:spMkLst>
            <pc:docMk/>
            <pc:sldMk cId="1834223401" sldId="270"/>
            <ac:spMk id="100" creationId="{C3EFA73D-C6DE-44BB-98A8-1A9129DDFB0E}"/>
          </ac:spMkLst>
        </pc:spChg>
        <pc:spChg chg="add del mod">
          <ac:chgData name="Ettore Minelli" userId="7870a1ad-01cf-4239-8cce-750deae7f4ef" providerId="ADAL" clId="{D5085ABD-D722-4CB6-A6FB-9B8A3461E949}" dt="2022-12-11T11:48:52.647" v="7727"/>
          <ac:spMkLst>
            <pc:docMk/>
            <pc:sldMk cId="1834223401" sldId="270"/>
            <ac:spMk id="101" creationId="{F501EF51-1D87-41C2-8CCE-B8F495B3EABA}"/>
          </ac:spMkLst>
        </pc:spChg>
        <pc:spChg chg="add mod">
          <ac:chgData name="Ettore Minelli" userId="7870a1ad-01cf-4239-8cce-750deae7f4ef" providerId="ADAL" clId="{D5085ABD-D722-4CB6-A6FB-9B8A3461E949}" dt="2022-12-11T11:49:37.997" v="7737" actId="1076"/>
          <ac:spMkLst>
            <pc:docMk/>
            <pc:sldMk cId="1834223401" sldId="270"/>
            <ac:spMk id="102" creationId="{9B5AB659-EB40-43FE-BB73-B3A2BEE2E3CD}"/>
          </ac:spMkLst>
        </pc:spChg>
        <pc:spChg chg="add mod">
          <ac:chgData name="Ettore Minelli" userId="7870a1ad-01cf-4239-8cce-750deae7f4ef" providerId="ADAL" clId="{D5085ABD-D722-4CB6-A6FB-9B8A3461E949}" dt="2022-12-11T11:49:34.604" v="7736" actId="1076"/>
          <ac:spMkLst>
            <pc:docMk/>
            <pc:sldMk cId="1834223401" sldId="270"/>
            <ac:spMk id="103" creationId="{7D8B06CB-0D4C-4AAA-BB12-94276D50B81B}"/>
          </ac:spMkLst>
        </pc:spChg>
        <pc:spChg chg="add mod">
          <ac:chgData name="Ettore Minelli" userId="7870a1ad-01cf-4239-8cce-750deae7f4ef" providerId="ADAL" clId="{D5085ABD-D722-4CB6-A6FB-9B8A3461E949}" dt="2022-12-11T11:49:45.601" v="7740" actId="14100"/>
          <ac:spMkLst>
            <pc:docMk/>
            <pc:sldMk cId="1834223401" sldId="270"/>
            <ac:spMk id="104" creationId="{9FDF9F19-CCD7-43B1-A0F5-24DCAD25A924}"/>
          </ac:spMkLst>
        </pc:spChg>
        <pc:spChg chg="add mod">
          <ac:chgData name="Ettore Minelli" userId="7870a1ad-01cf-4239-8cce-750deae7f4ef" providerId="ADAL" clId="{D5085ABD-D722-4CB6-A6FB-9B8A3461E949}" dt="2022-12-11T11:49:39.686" v="7738" actId="1076"/>
          <ac:spMkLst>
            <pc:docMk/>
            <pc:sldMk cId="1834223401" sldId="270"/>
            <ac:spMk id="105" creationId="{FF059E67-0AD3-4BD8-87C9-028E3DC6C4F6}"/>
          </ac:spMkLst>
        </pc:spChg>
        <pc:grpChg chg="del mod topLvl">
          <ac:chgData name="Ettore Minelli" userId="7870a1ad-01cf-4239-8cce-750deae7f4ef" providerId="ADAL" clId="{D5085ABD-D722-4CB6-A6FB-9B8A3461E949}" dt="2022-12-11T09:39:41.163" v="6413" actId="165"/>
          <ac:grpSpMkLst>
            <pc:docMk/>
            <pc:sldMk cId="1834223401" sldId="270"/>
            <ac:grpSpMk id="39" creationId="{4879DCAC-6EE2-40B1-8D27-CB669B6145A2}"/>
          </ac:grpSpMkLst>
        </pc:grpChg>
        <pc:grpChg chg="del">
          <ac:chgData name="Ettore Minelli" userId="7870a1ad-01cf-4239-8cce-750deae7f4ef" providerId="ADAL" clId="{D5085ABD-D722-4CB6-A6FB-9B8A3461E949}" dt="2022-12-11T09:39:35.491" v="6412" actId="165"/>
          <ac:grpSpMkLst>
            <pc:docMk/>
            <pc:sldMk cId="1834223401" sldId="270"/>
            <ac:grpSpMk id="42" creationId="{71F21293-951F-4706-8AB1-49842E395546}"/>
          </ac:grpSpMkLst>
        </pc:grpChg>
        <pc:graphicFrameChg chg="mod">
          <ac:chgData name="Ettore Minelli" userId="7870a1ad-01cf-4239-8cce-750deae7f4ef" providerId="ADAL" clId="{D5085ABD-D722-4CB6-A6FB-9B8A3461E949}" dt="2022-12-11T11:43:29.462" v="7645"/>
          <ac:graphicFrameMkLst>
            <pc:docMk/>
            <pc:sldMk cId="1834223401" sldId="270"/>
            <ac:graphicFrameMk id="4" creationId="{3AA458C4-3EB1-48A0-AAA9-70FC54800D3B}"/>
          </ac:graphicFrameMkLst>
        </pc:graphicFrameChg>
        <pc:picChg chg="mod">
          <ac:chgData name="Ettore Minelli" userId="7870a1ad-01cf-4239-8cce-750deae7f4ef" providerId="ADAL" clId="{D5085ABD-D722-4CB6-A6FB-9B8A3461E949}" dt="2022-12-11T11:43:29.451" v="7580"/>
          <ac:picMkLst>
            <pc:docMk/>
            <pc:sldMk cId="1834223401" sldId="270"/>
            <ac:picMk id="1026" creationId="{30BE5FDF-37BB-48B5-8A21-2FD0E33FE3A6}"/>
          </ac:picMkLst>
        </pc:picChg>
        <pc:cxnChg chg="add mod ord">
          <ac:chgData name="Ettore Minelli" userId="7870a1ad-01cf-4239-8cce-750deae7f4ef" providerId="ADAL" clId="{D5085ABD-D722-4CB6-A6FB-9B8A3461E949}" dt="2022-12-11T11:43:29.454" v="7598"/>
          <ac:cxnSpMkLst>
            <pc:docMk/>
            <pc:sldMk cId="1834223401" sldId="270"/>
            <ac:cxnSpMk id="9" creationId="{884873A9-710C-4539-ACE9-BDC37BF4FC35}"/>
          </ac:cxnSpMkLst>
        </pc:cxnChg>
        <pc:cxnChg chg="mod ord topLvl">
          <ac:chgData name="Ettore Minelli" userId="7870a1ad-01cf-4239-8cce-750deae7f4ef" providerId="ADAL" clId="{D5085ABD-D722-4CB6-A6FB-9B8A3461E949}" dt="2022-12-11T11:43:29.452" v="7590"/>
          <ac:cxnSpMkLst>
            <pc:docMk/>
            <pc:sldMk cId="1834223401" sldId="270"/>
            <ac:cxnSpMk id="13" creationId="{3DF67451-6F38-413C-B8D6-4372D090B909}"/>
          </ac:cxnSpMkLst>
        </pc:cxnChg>
        <pc:cxnChg chg="mod ord topLvl">
          <ac:chgData name="Ettore Minelli" userId="7870a1ad-01cf-4239-8cce-750deae7f4ef" providerId="ADAL" clId="{D5085ABD-D722-4CB6-A6FB-9B8A3461E949}" dt="2022-12-11T11:43:29.453" v="7592"/>
          <ac:cxnSpMkLst>
            <pc:docMk/>
            <pc:sldMk cId="1834223401" sldId="270"/>
            <ac:cxnSpMk id="14" creationId="{E5D69B38-42FF-4743-8D00-FB117AF383DA}"/>
          </ac:cxnSpMkLst>
        </pc:cxnChg>
        <pc:cxnChg chg="del mod topLvl">
          <ac:chgData name="Ettore Minelli" userId="7870a1ad-01cf-4239-8cce-750deae7f4ef" providerId="ADAL" clId="{D5085ABD-D722-4CB6-A6FB-9B8A3461E949}" dt="2022-12-11T09:55:34.687" v="6428" actId="478"/>
          <ac:cxnSpMkLst>
            <pc:docMk/>
            <pc:sldMk cId="1834223401" sldId="270"/>
            <ac:cxnSpMk id="17" creationId="{00AF54DD-2C49-4E41-BE6D-E24A1564DF2B}"/>
          </ac:cxnSpMkLst>
        </pc:cxnChg>
        <pc:cxnChg chg="del mod topLvl">
          <ac:chgData name="Ettore Minelli" userId="7870a1ad-01cf-4239-8cce-750deae7f4ef" providerId="ADAL" clId="{D5085ABD-D722-4CB6-A6FB-9B8A3461E949}" dt="2022-12-11T09:55:31.380" v="6425" actId="478"/>
          <ac:cxnSpMkLst>
            <pc:docMk/>
            <pc:sldMk cId="1834223401" sldId="270"/>
            <ac:cxnSpMk id="24" creationId="{03C81AD3-E3A4-45DD-B5FA-98BE8C92E2EC}"/>
          </ac:cxnSpMkLst>
        </pc:cxnChg>
        <pc:cxnChg chg="del mod topLvl">
          <ac:chgData name="Ettore Minelli" userId="7870a1ad-01cf-4239-8cce-750deae7f4ef" providerId="ADAL" clId="{D5085ABD-D722-4CB6-A6FB-9B8A3461E949}" dt="2022-12-11T09:55:31.380" v="6425" actId="478"/>
          <ac:cxnSpMkLst>
            <pc:docMk/>
            <pc:sldMk cId="1834223401" sldId="270"/>
            <ac:cxnSpMk id="26" creationId="{1EA60218-0EF0-4D12-A628-EB4E21DB6D88}"/>
          </ac:cxnSpMkLst>
        </pc:cxnChg>
        <pc:cxnChg chg="del mod topLvl">
          <ac:chgData name="Ettore Minelli" userId="7870a1ad-01cf-4239-8cce-750deae7f4ef" providerId="ADAL" clId="{D5085ABD-D722-4CB6-A6FB-9B8A3461E949}" dt="2022-12-11T09:55:27.052" v="6424" actId="478"/>
          <ac:cxnSpMkLst>
            <pc:docMk/>
            <pc:sldMk cId="1834223401" sldId="270"/>
            <ac:cxnSpMk id="27" creationId="{41C04D88-9839-4A67-AC9C-D58D38C3B6EC}"/>
          </ac:cxnSpMkLst>
        </pc:cxnChg>
        <pc:cxnChg chg="del mod topLvl">
          <ac:chgData name="Ettore Minelli" userId="7870a1ad-01cf-4239-8cce-750deae7f4ef" providerId="ADAL" clId="{D5085ABD-D722-4CB6-A6FB-9B8A3461E949}" dt="2022-12-11T09:55:40.208" v="6432" actId="478"/>
          <ac:cxnSpMkLst>
            <pc:docMk/>
            <pc:sldMk cId="1834223401" sldId="270"/>
            <ac:cxnSpMk id="28" creationId="{105C8ADD-2810-453A-AB4B-7AC4E2475D7A}"/>
          </ac:cxnSpMkLst>
        </pc:cxnChg>
        <pc:cxnChg chg="del mod topLvl">
          <ac:chgData name="Ettore Minelli" userId="7870a1ad-01cf-4239-8cce-750deae7f4ef" providerId="ADAL" clId="{D5085ABD-D722-4CB6-A6FB-9B8A3461E949}" dt="2022-12-11T09:55:38.802" v="6431" actId="478"/>
          <ac:cxnSpMkLst>
            <pc:docMk/>
            <pc:sldMk cId="1834223401" sldId="270"/>
            <ac:cxnSpMk id="31" creationId="{42733F6B-D6D6-49CE-80BC-21F19DBCE10E}"/>
          </ac:cxnSpMkLst>
        </pc:cxnChg>
        <pc:cxnChg chg="del mod topLvl">
          <ac:chgData name="Ettore Minelli" userId="7870a1ad-01cf-4239-8cce-750deae7f4ef" providerId="ADAL" clId="{D5085ABD-D722-4CB6-A6FB-9B8A3461E949}" dt="2022-12-11T09:55:36.705" v="6430" actId="478"/>
          <ac:cxnSpMkLst>
            <pc:docMk/>
            <pc:sldMk cId="1834223401" sldId="270"/>
            <ac:cxnSpMk id="32" creationId="{AD0EA266-7725-4251-8321-0D26A592DE2E}"/>
          </ac:cxnSpMkLst>
        </pc:cxnChg>
        <pc:cxnChg chg="add del">
          <ac:chgData name="Ettore Minelli" userId="7870a1ad-01cf-4239-8cce-750deae7f4ef" providerId="ADAL" clId="{D5085ABD-D722-4CB6-A6FB-9B8A3461E949}" dt="2022-12-11T10:18:40.482" v="6621" actId="478"/>
          <ac:cxnSpMkLst>
            <pc:docMk/>
            <pc:sldMk cId="1834223401" sldId="270"/>
            <ac:cxnSpMk id="35" creationId="{250692EC-5B75-4F16-82C2-86E590BCAA85}"/>
          </ac:cxnSpMkLst>
        </pc:cxnChg>
        <pc:cxnChg chg="add mod ord">
          <ac:chgData name="Ettore Minelli" userId="7870a1ad-01cf-4239-8cce-750deae7f4ef" providerId="ADAL" clId="{D5085ABD-D722-4CB6-A6FB-9B8A3461E949}" dt="2022-12-11T11:43:29.454" v="7602"/>
          <ac:cxnSpMkLst>
            <pc:docMk/>
            <pc:sldMk cId="1834223401" sldId="270"/>
            <ac:cxnSpMk id="45" creationId="{404699E4-3CAB-4CD9-A4AB-A84D04D28171}"/>
          </ac:cxnSpMkLst>
        </pc:cxnChg>
        <pc:cxnChg chg="add mod ord">
          <ac:chgData name="Ettore Minelli" userId="7870a1ad-01cf-4239-8cce-750deae7f4ef" providerId="ADAL" clId="{D5085ABD-D722-4CB6-A6FB-9B8A3461E949}" dt="2022-12-11T11:43:29.454" v="7604"/>
          <ac:cxnSpMkLst>
            <pc:docMk/>
            <pc:sldMk cId="1834223401" sldId="270"/>
            <ac:cxnSpMk id="46" creationId="{8A8E8FC2-C5CB-4287-AC13-95D540BDF6C0}"/>
          </ac:cxnSpMkLst>
        </pc:cxnChg>
        <pc:cxnChg chg="add mod ord">
          <ac:chgData name="Ettore Minelli" userId="7870a1ad-01cf-4239-8cce-750deae7f4ef" providerId="ADAL" clId="{D5085ABD-D722-4CB6-A6FB-9B8A3461E949}" dt="2022-12-11T11:43:29.455" v="7610"/>
          <ac:cxnSpMkLst>
            <pc:docMk/>
            <pc:sldMk cId="1834223401" sldId="270"/>
            <ac:cxnSpMk id="50" creationId="{C2AF65DC-E4C4-41DE-8C13-7AA72029A69D}"/>
          </ac:cxnSpMkLst>
        </pc:cxnChg>
        <pc:cxnChg chg="add mod ord">
          <ac:chgData name="Ettore Minelli" userId="7870a1ad-01cf-4239-8cce-750deae7f4ef" providerId="ADAL" clId="{D5085ABD-D722-4CB6-A6FB-9B8A3461E949}" dt="2022-12-11T11:43:29.456" v="7612"/>
          <ac:cxnSpMkLst>
            <pc:docMk/>
            <pc:sldMk cId="1834223401" sldId="270"/>
            <ac:cxnSpMk id="51" creationId="{C3681CEC-DD94-4203-8C99-65328BED4206}"/>
          </ac:cxnSpMkLst>
        </pc:cxnChg>
        <pc:cxnChg chg="add mod ord">
          <ac:chgData name="Ettore Minelli" userId="7870a1ad-01cf-4239-8cce-750deae7f4ef" providerId="ADAL" clId="{D5085ABD-D722-4CB6-A6FB-9B8A3461E949}" dt="2022-12-11T11:43:29.456" v="7618"/>
          <ac:cxnSpMkLst>
            <pc:docMk/>
            <pc:sldMk cId="1834223401" sldId="270"/>
            <ac:cxnSpMk id="54" creationId="{E6C7E9C4-B217-4745-BF3C-EFD8B15F2AF8}"/>
          </ac:cxnSpMkLst>
        </pc:cxnChg>
        <pc:cxnChg chg="add mod ord">
          <ac:chgData name="Ettore Minelli" userId="7870a1ad-01cf-4239-8cce-750deae7f4ef" providerId="ADAL" clId="{D5085ABD-D722-4CB6-A6FB-9B8A3461E949}" dt="2022-12-11T11:43:29.457" v="7622"/>
          <ac:cxnSpMkLst>
            <pc:docMk/>
            <pc:sldMk cId="1834223401" sldId="270"/>
            <ac:cxnSpMk id="56" creationId="{A8496FCB-33EF-4663-A003-663AF6084470}"/>
          </ac:cxnSpMkLst>
        </pc:cxnChg>
        <pc:cxnChg chg="add mod ord">
          <ac:chgData name="Ettore Minelli" userId="7870a1ad-01cf-4239-8cce-750deae7f4ef" providerId="ADAL" clId="{D5085ABD-D722-4CB6-A6FB-9B8A3461E949}" dt="2022-12-11T11:43:29.457" v="7624"/>
          <ac:cxnSpMkLst>
            <pc:docMk/>
            <pc:sldMk cId="1834223401" sldId="270"/>
            <ac:cxnSpMk id="57" creationId="{07CD3454-B7F9-437F-9697-2015C97CBD41}"/>
          </ac:cxnSpMkLst>
        </pc:cxnChg>
        <pc:cxnChg chg="add del mod">
          <ac:chgData name="Ettore Minelli" userId="7870a1ad-01cf-4239-8cce-750deae7f4ef" providerId="ADAL" clId="{D5085ABD-D722-4CB6-A6FB-9B8A3461E949}" dt="2022-12-11T11:38:01.400" v="7474" actId="478"/>
          <ac:cxnSpMkLst>
            <pc:docMk/>
            <pc:sldMk cId="1834223401" sldId="270"/>
            <ac:cxnSpMk id="63" creationId="{FE22889E-1C8E-47E8-BABB-E592A30106E9}"/>
          </ac:cxnSpMkLst>
        </pc:cxnChg>
        <pc:cxnChg chg="add mod">
          <ac:chgData name="Ettore Minelli" userId="7870a1ad-01cf-4239-8cce-750deae7f4ef" providerId="ADAL" clId="{D5085ABD-D722-4CB6-A6FB-9B8A3461E949}" dt="2022-12-11T11:44:05.813" v="7656" actId="1076"/>
          <ac:cxnSpMkLst>
            <pc:docMk/>
            <pc:sldMk cId="1834223401" sldId="270"/>
            <ac:cxnSpMk id="82" creationId="{76601143-8F6C-437C-8CE0-9FA4FDF1B35C}"/>
          </ac:cxnSpMkLst>
        </pc:cxnChg>
        <pc:cxnChg chg="add mod">
          <ac:chgData name="Ettore Minelli" userId="7870a1ad-01cf-4239-8cce-750deae7f4ef" providerId="ADAL" clId="{D5085ABD-D722-4CB6-A6FB-9B8A3461E949}" dt="2022-12-11T11:47:37.926" v="7706" actId="693"/>
          <ac:cxnSpMkLst>
            <pc:docMk/>
            <pc:sldMk cId="1834223401" sldId="270"/>
            <ac:cxnSpMk id="90" creationId="{132A9B2F-BCEA-4EF5-9BB4-BBC382F9E251}"/>
          </ac:cxnSpMkLst>
        </pc:cxnChg>
        <pc:cxnChg chg="add mod ord">
          <ac:chgData name="Ettore Minelli" userId="7870a1ad-01cf-4239-8cce-750deae7f4ef" providerId="ADAL" clId="{D5085ABD-D722-4CB6-A6FB-9B8A3461E949}" dt="2022-12-11T11:43:29.459" v="7634"/>
          <ac:cxnSpMkLst>
            <pc:docMk/>
            <pc:sldMk cId="1834223401" sldId="270"/>
            <ac:cxnSpMk id="1025" creationId="{D4949405-BC5B-43E9-A453-64AD798021BC}"/>
          </ac:cxnSpMkLst>
        </pc:cxnChg>
        <pc:cxnChg chg="add del mod">
          <ac:chgData name="Ettore Minelli" userId="7870a1ad-01cf-4239-8cce-750deae7f4ef" providerId="ADAL" clId="{D5085ABD-D722-4CB6-A6FB-9B8A3461E949}" dt="2022-12-11T11:38:24.673" v="7477" actId="478"/>
          <ac:cxnSpMkLst>
            <pc:docMk/>
            <pc:sldMk cId="1834223401" sldId="270"/>
            <ac:cxnSpMk id="1028" creationId="{EA8EFC22-44B2-495E-AFC1-A472142D6EBF}"/>
          </ac:cxnSpMkLst>
        </pc:cxnChg>
        <pc:cxnChg chg="add mod ord">
          <ac:chgData name="Ettore Minelli" userId="7870a1ad-01cf-4239-8cce-750deae7f4ef" providerId="ADAL" clId="{D5085ABD-D722-4CB6-A6FB-9B8A3461E949}" dt="2022-12-11T11:43:29.459" v="7636"/>
          <ac:cxnSpMkLst>
            <pc:docMk/>
            <pc:sldMk cId="1834223401" sldId="270"/>
            <ac:cxnSpMk id="1030" creationId="{6E514224-EF44-4579-9AB4-6B9FB8BA7881}"/>
          </ac:cxnSpMkLst>
        </pc:cxnChg>
        <pc:cxnChg chg="add mod ord">
          <ac:chgData name="Ettore Minelli" userId="7870a1ad-01cf-4239-8cce-750deae7f4ef" providerId="ADAL" clId="{D5085ABD-D722-4CB6-A6FB-9B8A3461E949}" dt="2022-12-11T11:43:56.442" v="7654" actId="1076"/>
          <ac:cxnSpMkLst>
            <pc:docMk/>
            <pc:sldMk cId="1834223401" sldId="270"/>
            <ac:cxnSpMk id="1035" creationId="{104DCB7F-B7AE-4026-8592-5239FEB370D6}"/>
          </ac:cxnSpMkLst>
        </pc:cxnChg>
        <pc:cxnChg chg="add mod">
          <ac:chgData name="Ettore Minelli" userId="7870a1ad-01cf-4239-8cce-750deae7f4ef" providerId="ADAL" clId="{D5085ABD-D722-4CB6-A6FB-9B8A3461E949}" dt="2022-12-11T11:47:37.926" v="7706" actId="693"/>
          <ac:cxnSpMkLst>
            <pc:docMk/>
            <pc:sldMk cId="1834223401" sldId="270"/>
            <ac:cxnSpMk id="1040" creationId="{7972AA7C-2944-4848-B2F6-7E354703BFC2}"/>
          </ac:cxnSpMkLst>
        </pc:cxnChg>
        <pc:cxnChg chg="add mod">
          <ac:chgData name="Ettore Minelli" userId="7870a1ad-01cf-4239-8cce-750deae7f4ef" providerId="ADAL" clId="{D5085ABD-D722-4CB6-A6FB-9B8A3461E949}" dt="2022-12-11T11:47:37.926" v="7706" actId="693"/>
          <ac:cxnSpMkLst>
            <pc:docMk/>
            <pc:sldMk cId="1834223401" sldId="270"/>
            <ac:cxnSpMk id="1044" creationId="{6CB1BA42-A987-4E5C-BE42-0CC07F158753}"/>
          </ac:cxnSpMkLst>
        </pc:cxnChg>
        <pc:cxnChg chg="add mod">
          <ac:chgData name="Ettore Minelli" userId="7870a1ad-01cf-4239-8cce-750deae7f4ef" providerId="ADAL" clId="{D5085ABD-D722-4CB6-A6FB-9B8A3461E949}" dt="2022-12-11T11:48:58.390" v="7729" actId="1076"/>
          <ac:cxnSpMkLst>
            <pc:docMk/>
            <pc:sldMk cId="1834223401" sldId="270"/>
            <ac:cxnSpMk id="1046" creationId="{AACFA887-B692-4898-857F-54BAB6B26EC2}"/>
          </ac:cxnSpMkLst>
        </pc:cxnChg>
      </pc:sldChg>
      <pc:sldChg chg="addSp delSp modSp add del mod">
        <pc:chgData name="Ettore Minelli" userId="7870a1ad-01cf-4239-8cce-750deae7f4ef" providerId="ADAL" clId="{D5085ABD-D722-4CB6-A6FB-9B8A3461E949}" dt="2022-12-11T11:22:56.724" v="7221" actId="47"/>
        <pc:sldMkLst>
          <pc:docMk/>
          <pc:sldMk cId="885011362" sldId="271"/>
        </pc:sldMkLst>
        <pc:spChg chg="add mod">
          <ac:chgData name="Ettore Minelli" userId="7870a1ad-01cf-4239-8cce-750deae7f4ef" providerId="ADAL" clId="{D5085ABD-D722-4CB6-A6FB-9B8A3461E949}" dt="2022-12-11T11:19:43.910" v="7214" actId="20577"/>
          <ac:spMkLst>
            <pc:docMk/>
            <pc:sldMk cId="885011362" sldId="271"/>
            <ac:spMk id="3" creationId="{6138CB51-D9EA-44D1-997F-CDE19F1F37E7}"/>
          </ac:spMkLst>
        </pc:spChg>
        <pc:spChg chg="del mod">
          <ac:chgData name="Ettore Minelli" userId="7870a1ad-01cf-4239-8cce-750deae7f4ef" providerId="ADAL" clId="{D5085ABD-D722-4CB6-A6FB-9B8A3461E949}" dt="2022-12-11T11:17:05.565" v="7160" actId="478"/>
          <ac:spMkLst>
            <pc:docMk/>
            <pc:sldMk cId="885011362" sldId="271"/>
            <ac:spMk id="11" creationId="{F4C9C5BB-31B3-42D7-99EB-41B486E9DB33}"/>
          </ac:spMkLst>
        </pc:spChg>
        <pc:spChg chg="mod">
          <ac:chgData name="Ettore Minelli" userId="7870a1ad-01cf-4239-8cce-750deae7f4ef" providerId="ADAL" clId="{D5085ABD-D722-4CB6-A6FB-9B8A3461E949}" dt="2022-12-11T11:17:18.008" v="7163" actId="5793"/>
          <ac:spMkLst>
            <pc:docMk/>
            <pc:sldMk cId="885011362" sldId="271"/>
            <ac:spMk id="15" creationId="{2CF0CF0A-5EF8-4774-B838-8A27680D94FC}"/>
          </ac:spMkLst>
        </pc:spChg>
        <pc:spChg chg="mod">
          <ac:chgData name="Ettore Minelli" userId="7870a1ad-01cf-4239-8cce-750deae7f4ef" providerId="ADAL" clId="{D5085ABD-D722-4CB6-A6FB-9B8A3461E949}" dt="2022-12-11T11:18:08.408" v="7168" actId="20577"/>
          <ac:spMkLst>
            <pc:docMk/>
            <pc:sldMk cId="885011362" sldId="271"/>
            <ac:spMk id="16" creationId="{6A1D0711-6C04-41FE-8C4D-618851F6D4CD}"/>
          </ac:spMkLst>
        </pc:spChg>
        <pc:spChg chg="add mod">
          <ac:chgData name="Ettore Minelli" userId="7870a1ad-01cf-4239-8cce-750deae7f4ef" providerId="ADAL" clId="{D5085ABD-D722-4CB6-A6FB-9B8A3461E949}" dt="2022-12-11T11:18:48.813" v="7177" actId="207"/>
          <ac:spMkLst>
            <pc:docMk/>
            <pc:sldMk cId="885011362" sldId="271"/>
            <ac:spMk id="27" creationId="{E4857DAB-28E3-4C68-B752-CB0C804ACFDA}"/>
          </ac:spMkLst>
        </pc:spChg>
        <pc:grpChg chg="del">
          <ac:chgData name="Ettore Minelli" userId="7870a1ad-01cf-4239-8cce-750deae7f4ef" providerId="ADAL" clId="{D5085ABD-D722-4CB6-A6FB-9B8A3461E949}" dt="2022-12-11T11:17:07.154" v="7161" actId="478"/>
          <ac:grpSpMkLst>
            <pc:docMk/>
            <pc:sldMk cId="885011362" sldId="271"/>
            <ac:grpSpMk id="13" creationId="{EF86E105-8149-435D-9105-1ED1B16F732C}"/>
          </ac:grpSpMkLst>
        </pc:grpChg>
        <pc:graphicFrameChg chg="del">
          <ac:chgData name="Ettore Minelli" userId="7870a1ad-01cf-4239-8cce-750deae7f4ef" providerId="ADAL" clId="{D5085ABD-D722-4CB6-A6FB-9B8A3461E949}" dt="2022-12-11T11:16:58.867" v="7158" actId="478"/>
          <ac:graphicFrameMkLst>
            <pc:docMk/>
            <pc:sldMk cId="885011362" sldId="271"/>
            <ac:graphicFrameMk id="8" creationId="{15BAC59F-E998-4E47-8870-0FD69367A323}"/>
          </ac:graphicFrameMkLst>
        </pc:graphicFrameChg>
        <pc:graphicFrameChg chg="add del mod">
          <ac:chgData name="Ettore Minelli" userId="7870a1ad-01cf-4239-8cce-750deae7f4ef" providerId="ADAL" clId="{D5085ABD-D722-4CB6-A6FB-9B8A3461E949}" dt="2022-12-11T11:22:23.864" v="7219" actId="478"/>
          <ac:graphicFrameMkLst>
            <pc:docMk/>
            <pc:sldMk cId="885011362" sldId="271"/>
            <ac:graphicFrameMk id="28" creationId="{346E153E-C7BE-4715-99A5-BED6F4C28987}"/>
          </ac:graphicFrameMkLst>
        </pc:graphicFrameChg>
      </pc:sldChg>
      <pc:sldChg chg="delSp modSp add mod">
        <pc:chgData name="Ettore Minelli" userId="7870a1ad-01cf-4239-8cce-750deae7f4ef" providerId="ADAL" clId="{D5085ABD-D722-4CB6-A6FB-9B8A3461E949}" dt="2022-12-13T13:02:54.734" v="9058" actId="20577"/>
        <pc:sldMkLst>
          <pc:docMk/>
          <pc:sldMk cId="1340114911" sldId="272"/>
        </pc:sldMkLst>
        <pc:spChg chg="mod">
          <ac:chgData name="Ettore Minelli" userId="7870a1ad-01cf-4239-8cce-750deae7f4ef" providerId="ADAL" clId="{D5085ABD-D722-4CB6-A6FB-9B8A3461E949}" dt="2022-12-13T13:02:54.734" v="9058" actId="20577"/>
          <ac:spMkLst>
            <pc:docMk/>
            <pc:sldMk cId="1340114911" sldId="272"/>
            <ac:spMk id="2" creationId="{C5E8BAFC-CF07-471F-BA02-4BA18594B316}"/>
          </ac:spMkLst>
        </pc:spChg>
        <pc:spChg chg="mod">
          <ac:chgData name="Ettore Minelli" userId="7870a1ad-01cf-4239-8cce-750deae7f4ef" providerId="ADAL" clId="{D5085ABD-D722-4CB6-A6FB-9B8A3461E949}" dt="2022-12-11T11:24:55.721" v="7264" actId="1076"/>
          <ac:spMkLst>
            <pc:docMk/>
            <pc:sldMk cId="1340114911" sldId="272"/>
            <ac:spMk id="11" creationId="{F4C9C5BB-31B3-42D7-99EB-41B486E9DB33}"/>
          </ac:spMkLst>
        </pc:spChg>
        <pc:spChg chg="mod">
          <ac:chgData name="Ettore Minelli" userId="7870a1ad-01cf-4239-8cce-750deae7f4ef" providerId="ADAL" clId="{D5085ABD-D722-4CB6-A6FB-9B8A3461E949}" dt="2022-12-13T13:02:42.446" v="9052" actId="20577"/>
          <ac:spMkLst>
            <pc:docMk/>
            <pc:sldMk cId="1340114911" sldId="272"/>
            <ac:spMk id="15" creationId="{2CF0CF0A-5EF8-4774-B838-8A27680D94FC}"/>
          </ac:spMkLst>
        </pc:spChg>
        <pc:spChg chg="mod">
          <ac:chgData name="Ettore Minelli" userId="7870a1ad-01cf-4239-8cce-750deae7f4ef" providerId="ADAL" clId="{D5085ABD-D722-4CB6-A6FB-9B8A3461E949}" dt="2022-12-11T11:31:13.116" v="7305" actId="5793"/>
          <ac:spMkLst>
            <pc:docMk/>
            <pc:sldMk cId="1340114911" sldId="272"/>
            <ac:spMk id="16" creationId="{6A1D0711-6C04-41FE-8C4D-618851F6D4CD}"/>
          </ac:spMkLst>
        </pc:spChg>
        <pc:grpChg chg="del mod">
          <ac:chgData name="Ettore Minelli" userId="7870a1ad-01cf-4239-8cce-750deae7f4ef" providerId="ADAL" clId="{D5085ABD-D722-4CB6-A6FB-9B8A3461E949}" dt="2022-12-11T11:24:43.330" v="7261" actId="478"/>
          <ac:grpSpMkLst>
            <pc:docMk/>
            <pc:sldMk cId="1340114911" sldId="272"/>
            <ac:grpSpMk id="13" creationId="{EF86E105-8149-435D-9105-1ED1B16F732C}"/>
          </ac:grpSpMkLst>
        </pc:grpChg>
        <pc:graphicFrameChg chg="modGraphic">
          <ac:chgData name="Ettore Minelli" userId="7870a1ad-01cf-4239-8cce-750deae7f4ef" providerId="ADAL" clId="{D5085ABD-D722-4CB6-A6FB-9B8A3461E949}" dt="2022-12-11T11:36:42.011" v="7464" actId="113"/>
          <ac:graphicFrameMkLst>
            <pc:docMk/>
            <pc:sldMk cId="1340114911" sldId="272"/>
            <ac:graphicFrameMk id="8" creationId="{15BAC59F-E998-4E47-8870-0FD69367A323}"/>
          </ac:graphicFrameMkLst>
        </pc:graphicFrameChg>
      </pc:sldChg>
      <pc:sldChg chg="delSp modSp add mod">
        <pc:chgData name="Ettore Minelli" userId="7870a1ad-01cf-4239-8cce-750deae7f4ef" providerId="ADAL" clId="{D5085ABD-D722-4CB6-A6FB-9B8A3461E949}" dt="2022-12-13T13:03:00.468" v="9066" actId="20577"/>
        <pc:sldMkLst>
          <pc:docMk/>
          <pc:sldMk cId="2135666156" sldId="273"/>
        </pc:sldMkLst>
        <pc:spChg chg="mod">
          <ac:chgData name="Ettore Minelli" userId="7870a1ad-01cf-4239-8cce-750deae7f4ef" providerId="ADAL" clId="{D5085ABD-D722-4CB6-A6FB-9B8A3461E949}" dt="2022-12-13T13:03:00.468" v="9066" actId="20577"/>
          <ac:spMkLst>
            <pc:docMk/>
            <pc:sldMk cId="2135666156" sldId="273"/>
            <ac:spMk id="2" creationId="{C5E8BAFC-CF07-471F-BA02-4BA18594B316}"/>
          </ac:spMkLst>
        </pc:spChg>
        <pc:spChg chg="del">
          <ac:chgData name="Ettore Minelli" userId="7870a1ad-01cf-4239-8cce-750deae7f4ef" providerId="ADAL" clId="{D5085ABD-D722-4CB6-A6FB-9B8A3461E949}" dt="2022-12-11T11:31:33.103" v="7308" actId="478"/>
          <ac:spMkLst>
            <pc:docMk/>
            <pc:sldMk cId="2135666156" sldId="273"/>
            <ac:spMk id="11" creationId="{F4C9C5BB-31B3-42D7-99EB-41B486E9DB33}"/>
          </ac:spMkLst>
        </pc:spChg>
        <pc:spChg chg="mod">
          <ac:chgData name="Ettore Minelli" userId="7870a1ad-01cf-4239-8cce-750deae7f4ef" providerId="ADAL" clId="{D5085ABD-D722-4CB6-A6FB-9B8A3461E949}" dt="2022-12-11T11:34:37.249" v="7453" actId="207"/>
          <ac:spMkLst>
            <pc:docMk/>
            <pc:sldMk cId="2135666156" sldId="273"/>
            <ac:spMk id="14" creationId="{CBE834BC-513F-4275-A974-E9B918207C6E}"/>
          </ac:spMkLst>
        </pc:spChg>
        <pc:spChg chg="mod">
          <ac:chgData name="Ettore Minelli" userId="7870a1ad-01cf-4239-8cce-750deae7f4ef" providerId="ADAL" clId="{D5085ABD-D722-4CB6-A6FB-9B8A3461E949}" dt="2022-12-11T11:34:19.493" v="7451" actId="14100"/>
          <ac:spMkLst>
            <pc:docMk/>
            <pc:sldMk cId="2135666156" sldId="273"/>
            <ac:spMk id="15" creationId="{2CF0CF0A-5EF8-4774-B838-8A27680D94FC}"/>
          </ac:spMkLst>
        </pc:spChg>
        <pc:spChg chg="del">
          <ac:chgData name="Ettore Minelli" userId="7870a1ad-01cf-4239-8cce-750deae7f4ef" providerId="ADAL" clId="{D5085ABD-D722-4CB6-A6FB-9B8A3461E949}" dt="2022-12-11T11:31:30.305" v="7307" actId="478"/>
          <ac:spMkLst>
            <pc:docMk/>
            <pc:sldMk cId="2135666156" sldId="273"/>
            <ac:spMk id="16" creationId="{6A1D0711-6C04-41FE-8C4D-618851F6D4CD}"/>
          </ac:spMkLst>
        </pc:spChg>
        <pc:spChg chg="mod">
          <ac:chgData name="Ettore Minelli" userId="7870a1ad-01cf-4239-8cce-750deae7f4ef" providerId="ADAL" clId="{D5085ABD-D722-4CB6-A6FB-9B8A3461E949}" dt="2022-12-11T11:34:40.318" v="7454" actId="207"/>
          <ac:spMkLst>
            <pc:docMk/>
            <pc:sldMk cId="2135666156" sldId="273"/>
            <ac:spMk id="18" creationId="{F61895A8-C7CE-4CFE-83DF-F343ECE04A9B}"/>
          </ac:spMkLst>
        </pc:spChg>
        <pc:spChg chg="mod">
          <ac:chgData name="Ettore Minelli" userId="7870a1ad-01cf-4239-8cce-750deae7f4ef" providerId="ADAL" clId="{D5085ABD-D722-4CB6-A6FB-9B8A3461E949}" dt="2022-12-11T11:34:42.993" v="7456" actId="207"/>
          <ac:spMkLst>
            <pc:docMk/>
            <pc:sldMk cId="2135666156" sldId="273"/>
            <ac:spMk id="19" creationId="{B4E2504B-EF96-4AEF-BA24-2C69156DDB5C}"/>
          </ac:spMkLst>
        </pc:spChg>
        <pc:grpChg chg="mod">
          <ac:chgData name="Ettore Minelli" userId="7870a1ad-01cf-4239-8cce-750deae7f4ef" providerId="ADAL" clId="{D5085ABD-D722-4CB6-A6FB-9B8A3461E949}" dt="2022-12-11T11:31:44.681" v="7310" actId="1076"/>
          <ac:grpSpMkLst>
            <pc:docMk/>
            <pc:sldMk cId="2135666156" sldId="273"/>
            <ac:grpSpMk id="13" creationId="{EF86E105-8149-435D-9105-1ED1B16F732C}"/>
          </ac:grpSpMkLst>
        </pc:grpChg>
        <pc:graphicFrameChg chg="del">
          <ac:chgData name="Ettore Minelli" userId="7870a1ad-01cf-4239-8cce-750deae7f4ef" providerId="ADAL" clId="{D5085ABD-D722-4CB6-A6FB-9B8A3461E949}" dt="2022-12-11T11:31:24.008" v="7306" actId="478"/>
          <ac:graphicFrameMkLst>
            <pc:docMk/>
            <pc:sldMk cId="2135666156" sldId="273"/>
            <ac:graphicFrameMk id="8" creationId="{15BAC59F-E998-4E47-8870-0FD69367A323}"/>
          </ac:graphicFrameMkLst>
        </pc:graphicFrameChg>
        <pc:picChg chg="mod">
          <ac:chgData name="Ettore Minelli" userId="7870a1ad-01cf-4239-8cce-750deae7f4ef" providerId="ADAL" clId="{D5085ABD-D722-4CB6-A6FB-9B8A3461E949}" dt="2022-12-11T11:34:45.335" v="7457" actId="208"/>
          <ac:picMkLst>
            <pc:docMk/>
            <pc:sldMk cId="2135666156" sldId="273"/>
            <ac:picMk id="17" creationId="{73C39330-1275-418F-8987-1874EFC58BCF}"/>
          </ac:picMkLst>
        </pc:picChg>
      </pc:sldChg>
      <pc:sldChg chg="addSp delSp modSp add mod ord">
        <pc:chgData name="Ettore Minelli" userId="7870a1ad-01cf-4239-8cce-750deae7f4ef" providerId="ADAL" clId="{D5085ABD-D722-4CB6-A6FB-9B8A3461E949}" dt="2022-12-13T12:56:56.611" v="8666" actId="5793"/>
        <pc:sldMkLst>
          <pc:docMk/>
          <pc:sldMk cId="1285873257" sldId="274"/>
        </pc:sldMkLst>
        <pc:spChg chg="mod">
          <ac:chgData name="Ettore Minelli" userId="7870a1ad-01cf-4239-8cce-750deae7f4ef" providerId="ADAL" clId="{D5085ABD-D722-4CB6-A6FB-9B8A3461E949}" dt="2022-12-13T12:56:56.611" v="8666" actId="5793"/>
          <ac:spMkLst>
            <pc:docMk/>
            <pc:sldMk cId="1285873257" sldId="274"/>
            <ac:spMk id="15" creationId="{2CF0CF0A-5EF8-4774-B838-8A27680D94FC}"/>
          </ac:spMkLst>
        </pc:spChg>
        <pc:spChg chg="del">
          <ac:chgData name="Ettore Minelli" userId="7870a1ad-01cf-4239-8cce-750deae7f4ef" providerId="ADAL" clId="{D5085ABD-D722-4CB6-A6FB-9B8A3461E949}" dt="2022-12-11T11:50:29.913" v="7744" actId="478"/>
          <ac:spMkLst>
            <pc:docMk/>
            <pc:sldMk cId="1285873257" sldId="274"/>
            <ac:spMk id="16" creationId="{B60F17D4-618A-41F0-9226-9BBAA3409A0A}"/>
          </ac:spMkLst>
        </pc:spChg>
        <pc:spChg chg="del">
          <ac:chgData name="Ettore Minelli" userId="7870a1ad-01cf-4239-8cce-750deae7f4ef" providerId="ADAL" clId="{D5085ABD-D722-4CB6-A6FB-9B8A3461E949}" dt="2022-12-11T11:50:29.913" v="7744" actId="478"/>
          <ac:spMkLst>
            <pc:docMk/>
            <pc:sldMk cId="1285873257" sldId="274"/>
            <ac:spMk id="18" creationId="{0368A043-C366-4020-82CA-5FE5405D4E37}"/>
          </ac:spMkLst>
        </pc:spChg>
        <pc:spChg chg="del">
          <ac:chgData name="Ettore Minelli" userId="7870a1ad-01cf-4239-8cce-750deae7f4ef" providerId="ADAL" clId="{D5085ABD-D722-4CB6-A6FB-9B8A3461E949}" dt="2022-12-11T11:50:29.913" v="7744" actId="478"/>
          <ac:spMkLst>
            <pc:docMk/>
            <pc:sldMk cId="1285873257" sldId="274"/>
            <ac:spMk id="19" creationId="{4134D1BD-6FEA-440F-AF31-E29175798CD7}"/>
          </ac:spMkLst>
        </pc:spChg>
        <pc:spChg chg="del">
          <ac:chgData name="Ettore Minelli" userId="7870a1ad-01cf-4239-8cce-750deae7f4ef" providerId="ADAL" clId="{D5085ABD-D722-4CB6-A6FB-9B8A3461E949}" dt="2022-12-11T11:50:29.913" v="7744" actId="478"/>
          <ac:spMkLst>
            <pc:docMk/>
            <pc:sldMk cId="1285873257" sldId="274"/>
            <ac:spMk id="44" creationId="{2F7B5FF8-5B3D-4841-86FB-103AC7C297F3}"/>
          </ac:spMkLst>
        </pc:spChg>
        <pc:spChg chg="del">
          <ac:chgData name="Ettore Minelli" userId="7870a1ad-01cf-4239-8cce-750deae7f4ef" providerId="ADAL" clId="{D5085ABD-D722-4CB6-A6FB-9B8A3461E949}" dt="2022-12-11T11:50:29.913" v="7744" actId="478"/>
          <ac:spMkLst>
            <pc:docMk/>
            <pc:sldMk cId="1285873257" sldId="274"/>
            <ac:spMk id="47" creationId="{05E69369-EFC3-4BF7-8BB2-FCC6E9F46B04}"/>
          </ac:spMkLst>
        </pc:spChg>
        <pc:spChg chg="del">
          <ac:chgData name="Ettore Minelli" userId="7870a1ad-01cf-4239-8cce-750deae7f4ef" providerId="ADAL" clId="{D5085ABD-D722-4CB6-A6FB-9B8A3461E949}" dt="2022-12-11T11:50:29.913" v="7744" actId="478"/>
          <ac:spMkLst>
            <pc:docMk/>
            <pc:sldMk cId="1285873257" sldId="274"/>
            <ac:spMk id="48" creationId="{696448A1-21B3-481A-ADFA-2ED8D391AACC}"/>
          </ac:spMkLst>
        </pc:spChg>
        <pc:spChg chg="mod">
          <ac:chgData name="Ettore Minelli" userId="7870a1ad-01cf-4239-8cce-750deae7f4ef" providerId="ADAL" clId="{D5085ABD-D722-4CB6-A6FB-9B8A3461E949}" dt="2022-12-11T11:50:37.680" v="7746" actId="164"/>
          <ac:spMkLst>
            <pc:docMk/>
            <pc:sldMk cId="1285873257" sldId="274"/>
            <ac:spMk id="52" creationId="{AF579A5C-F133-4360-8C46-7A3403D7DE15}"/>
          </ac:spMkLst>
        </pc:spChg>
        <pc:spChg chg="mod">
          <ac:chgData name="Ettore Minelli" userId="7870a1ad-01cf-4239-8cce-750deae7f4ef" providerId="ADAL" clId="{D5085ABD-D722-4CB6-A6FB-9B8A3461E949}" dt="2022-12-11T11:50:37.680" v="7746" actId="164"/>
          <ac:spMkLst>
            <pc:docMk/>
            <pc:sldMk cId="1285873257" sldId="274"/>
            <ac:spMk id="53" creationId="{1AAB1A1B-648D-4383-B31F-86B5853C571D}"/>
          </ac:spMkLst>
        </pc:spChg>
        <pc:spChg chg="mod">
          <ac:chgData name="Ettore Minelli" userId="7870a1ad-01cf-4239-8cce-750deae7f4ef" providerId="ADAL" clId="{D5085ABD-D722-4CB6-A6FB-9B8A3461E949}" dt="2022-12-11T11:50:57.445" v="7749" actId="1076"/>
          <ac:spMkLst>
            <pc:docMk/>
            <pc:sldMk cId="1285873257" sldId="274"/>
            <ac:spMk id="55" creationId="{9D223039-C341-44D8-9938-A52B390BEB05}"/>
          </ac:spMkLst>
        </pc:spChg>
        <pc:spChg chg="mod">
          <ac:chgData name="Ettore Minelli" userId="7870a1ad-01cf-4239-8cce-750deae7f4ef" providerId="ADAL" clId="{D5085ABD-D722-4CB6-A6FB-9B8A3461E949}" dt="2022-12-11T11:50:37.680" v="7746" actId="164"/>
          <ac:spMkLst>
            <pc:docMk/>
            <pc:sldMk cId="1285873257" sldId="274"/>
            <ac:spMk id="58" creationId="{91A80117-05C9-4D6F-9FDC-364288585590}"/>
          </ac:spMkLst>
        </pc:spChg>
        <pc:spChg chg="mod">
          <ac:chgData name="Ettore Minelli" userId="7870a1ad-01cf-4239-8cce-750deae7f4ef" providerId="ADAL" clId="{D5085ABD-D722-4CB6-A6FB-9B8A3461E949}" dt="2022-12-11T11:50:37.680" v="7746" actId="164"/>
          <ac:spMkLst>
            <pc:docMk/>
            <pc:sldMk cId="1285873257" sldId="274"/>
            <ac:spMk id="59" creationId="{8FCE2B9B-785B-433F-A640-E9DEF6BCC5C4}"/>
          </ac:spMkLst>
        </pc:spChg>
        <pc:spChg chg="mod">
          <ac:chgData name="Ettore Minelli" userId="7870a1ad-01cf-4239-8cce-750deae7f4ef" providerId="ADAL" clId="{D5085ABD-D722-4CB6-A6FB-9B8A3461E949}" dt="2022-12-11T11:50:37.680" v="7746" actId="164"/>
          <ac:spMkLst>
            <pc:docMk/>
            <pc:sldMk cId="1285873257" sldId="274"/>
            <ac:spMk id="60" creationId="{766B76BF-464A-4132-BF97-1D0F8128674B}"/>
          </ac:spMkLst>
        </pc:spChg>
        <pc:spChg chg="del">
          <ac:chgData name="Ettore Minelli" userId="7870a1ad-01cf-4239-8cce-750deae7f4ef" providerId="ADAL" clId="{D5085ABD-D722-4CB6-A6FB-9B8A3461E949}" dt="2022-12-11T11:50:29.913" v="7744" actId="478"/>
          <ac:spMkLst>
            <pc:docMk/>
            <pc:sldMk cId="1285873257" sldId="274"/>
            <ac:spMk id="74" creationId="{D97193D0-E91F-4CBA-8C60-97B264EC9D87}"/>
          </ac:spMkLst>
        </pc:spChg>
        <pc:spChg chg="del">
          <ac:chgData name="Ettore Minelli" userId="7870a1ad-01cf-4239-8cce-750deae7f4ef" providerId="ADAL" clId="{D5085ABD-D722-4CB6-A6FB-9B8A3461E949}" dt="2022-12-11T11:50:29.913" v="7744" actId="478"/>
          <ac:spMkLst>
            <pc:docMk/>
            <pc:sldMk cId="1285873257" sldId="274"/>
            <ac:spMk id="75" creationId="{CE03A55B-A42F-46E9-B2DB-2327FA38CAC0}"/>
          </ac:spMkLst>
        </pc:spChg>
        <pc:spChg chg="del">
          <ac:chgData name="Ettore Minelli" userId="7870a1ad-01cf-4239-8cce-750deae7f4ef" providerId="ADAL" clId="{D5085ABD-D722-4CB6-A6FB-9B8A3461E949}" dt="2022-12-11T11:50:29.913" v="7744" actId="478"/>
          <ac:spMkLst>
            <pc:docMk/>
            <pc:sldMk cId="1285873257" sldId="274"/>
            <ac:spMk id="76" creationId="{CD024759-D0FD-403D-B8F6-A467CE9459C2}"/>
          </ac:spMkLst>
        </pc:spChg>
        <pc:spChg chg="mod">
          <ac:chgData name="Ettore Minelli" userId="7870a1ad-01cf-4239-8cce-750deae7f4ef" providerId="ADAL" clId="{D5085ABD-D722-4CB6-A6FB-9B8A3461E949}" dt="2022-12-11T11:50:37.680" v="7746" actId="164"/>
          <ac:spMkLst>
            <pc:docMk/>
            <pc:sldMk cId="1285873257" sldId="274"/>
            <ac:spMk id="83" creationId="{3B0BC3F0-AA48-427A-BD5C-6422DB5D55BC}"/>
          </ac:spMkLst>
        </pc:spChg>
        <pc:spChg chg="del">
          <ac:chgData name="Ettore Minelli" userId="7870a1ad-01cf-4239-8cce-750deae7f4ef" providerId="ADAL" clId="{D5085ABD-D722-4CB6-A6FB-9B8A3461E949}" dt="2022-12-11T11:50:29.913" v="7744" actId="478"/>
          <ac:spMkLst>
            <pc:docMk/>
            <pc:sldMk cId="1285873257" sldId="274"/>
            <ac:spMk id="84" creationId="{415C15C0-3BBF-4295-8F98-8BDE76047B29}"/>
          </ac:spMkLst>
        </pc:spChg>
        <pc:spChg chg="del">
          <ac:chgData name="Ettore Minelli" userId="7870a1ad-01cf-4239-8cce-750deae7f4ef" providerId="ADAL" clId="{D5085ABD-D722-4CB6-A6FB-9B8A3461E949}" dt="2022-12-11T11:50:29.913" v="7744" actId="478"/>
          <ac:spMkLst>
            <pc:docMk/>
            <pc:sldMk cId="1285873257" sldId="274"/>
            <ac:spMk id="85" creationId="{D4D636AE-E4BD-4EDC-9BDE-2D6D9C326311}"/>
          </ac:spMkLst>
        </pc:spChg>
        <pc:spChg chg="del">
          <ac:chgData name="Ettore Minelli" userId="7870a1ad-01cf-4239-8cce-750deae7f4ef" providerId="ADAL" clId="{D5085ABD-D722-4CB6-A6FB-9B8A3461E949}" dt="2022-12-11T11:50:29.913" v="7744" actId="478"/>
          <ac:spMkLst>
            <pc:docMk/>
            <pc:sldMk cId="1285873257" sldId="274"/>
            <ac:spMk id="86" creationId="{89D6C90A-80EB-4E93-9742-9DDE56EF209B}"/>
          </ac:spMkLst>
        </pc:spChg>
        <pc:spChg chg="mod">
          <ac:chgData name="Ettore Minelli" userId="7870a1ad-01cf-4239-8cce-750deae7f4ef" providerId="ADAL" clId="{D5085ABD-D722-4CB6-A6FB-9B8A3461E949}" dt="2022-12-11T11:50:37.680" v="7746" actId="164"/>
          <ac:spMkLst>
            <pc:docMk/>
            <pc:sldMk cId="1285873257" sldId="274"/>
            <ac:spMk id="87" creationId="{6E1F7731-5F6C-47A5-A7C7-EC0E26710CDC}"/>
          </ac:spMkLst>
        </pc:spChg>
        <pc:spChg chg="mod">
          <ac:chgData name="Ettore Minelli" userId="7870a1ad-01cf-4239-8cce-750deae7f4ef" providerId="ADAL" clId="{D5085ABD-D722-4CB6-A6FB-9B8A3461E949}" dt="2022-12-11T11:50:37.680" v="7746" actId="164"/>
          <ac:spMkLst>
            <pc:docMk/>
            <pc:sldMk cId="1285873257" sldId="274"/>
            <ac:spMk id="97" creationId="{37723689-7E76-49F5-8CC6-3471327406C0}"/>
          </ac:spMkLst>
        </pc:spChg>
        <pc:spChg chg="mod">
          <ac:chgData name="Ettore Minelli" userId="7870a1ad-01cf-4239-8cce-750deae7f4ef" providerId="ADAL" clId="{D5085ABD-D722-4CB6-A6FB-9B8A3461E949}" dt="2022-12-11T11:50:37.680" v="7746" actId="164"/>
          <ac:spMkLst>
            <pc:docMk/>
            <pc:sldMk cId="1285873257" sldId="274"/>
            <ac:spMk id="102" creationId="{9B5AB659-EB40-43FE-BB73-B3A2BEE2E3CD}"/>
          </ac:spMkLst>
        </pc:spChg>
        <pc:spChg chg="mod">
          <ac:chgData name="Ettore Minelli" userId="7870a1ad-01cf-4239-8cce-750deae7f4ef" providerId="ADAL" clId="{D5085ABD-D722-4CB6-A6FB-9B8A3461E949}" dt="2022-12-11T11:50:37.680" v="7746" actId="164"/>
          <ac:spMkLst>
            <pc:docMk/>
            <pc:sldMk cId="1285873257" sldId="274"/>
            <ac:spMk id="103" creationId="{7D8B06CB-0D4C-4AAA-BB12-94276D50B81B}"/>
          </ac:spMkLst>
        </pc:spChg>
        <pc:spChg chg="mod">
          <ac:chgData name="Ettore Minelli" userId="7870a1ad-01cf-4239-8cce-750deae7f4ef" providerId="ADAL" clId="{D5085ABD-D722-4CB6-A6FB-9B8A3461E949}" dt="2022-12-11T11:50:37.680" v="7746" actId="164"/>
          <ac:spMkLst>
            <pc:docMk/>
            <pc:sldMk cId="1285873257" sldId="274"/>
            <ac:spMk id="104" creationId="{9FDF9F19-CCD7-43B1-A0F5-24DCAD25A924}"/>
          </ac:spMkLst>
        </pc:spChg>
        <pc:spChg chg="mod">
          <ac:chgData name="Ettore Minelli" userId="7870a1ad-01cf-4239-8cce-750deae7f4ef" providerId="ADAL" clId="{D5085ABD-D722-4CB6-A6FB-9B8A3461E949}" dt="2022-12-11T11:50:37.680" v="7746" actId="164"/>
          <ac:spMkLst>
            <pc:docMk/>
            <pc:sldMk cId="1285873257" sldId="274"/>
            <ac:spMk id="105" creationId="{FF059E67-0AD3-4BD8-87C9-028E3DC6C4F6}"/>
          </ac:spMkLst>
        </pc:spChg>
        <pc:grpChg chg="add mod">
          <ac:chgData name="Ettore Minelli" userId="7870a1ad-01cf-4239-8cce-750deae7f4ef" providerId="ADAL" clId="{D5085ABD-D722-4CB6-A6FB-9B8A3461E949}" dt="2022-12-11T11:50:43.548" v="7748" actId="1076"/>
          <ac:grpSpMkLst>
            <pc:docMk/>
            <pc:sldMk cId="1285873257" sldId="274"/>
            <ac:grpSpMk id="3" creationId="{49F48FDB-FD55-4DF8-995B-D692C4D8434E}"/>
          </ac:grpSpMkLst>
        </pc:grpChg>
        <pc:cxnChg chg="del">
          <ac:chgData name="Ettore Minelli" userId="7870a1ad-01cf-4239-8cce-750deae7f4ef" providerId="ADAL" clId="{D5085ABD-D722-4CB6-A6FB-9B8A3461E949}" dt="2022-12-11T11:50:29.913" v="7744" actId="478"/>
          <ac:cxnSpMkLst>
            <pc:docMk/>
            <pc:sldMk cId="1285873257" sldId="274"/>
            <ac:cxnSpMk id="9" creationId="{884873A9-710C-4539-ACE9-BDC37BF4FC35}"/>
          </ac:cxnSpMkLst>
        </pc:cxnChg>
        <pc:cxnChg chg="del">
          <ac:chgData name="Ettore Minelli" userId="7870a1ad-01cf-4239-8cce-750deae7f4ef" providerId="ADAL" clId="{D5085ABD-D722-4CB6-A6FB-9B8A3461E949}" dt="2022-12-11T11:50:29.913" v="7744" actId="478"/>
          <ac:cxnSpMkLst>
            <pc:docMk/>
            <pc:sldMk cId="1285873257" sldId="274"/>
            <ac:cxnSpMk id="13" creationId="{3DF67451-6F38-413C-B8D6-4372D090B909}"/>
          </ac:cxnSpMkLst>
        </pc:cxnChg>
        <pc:cxnChg chg="del">
          <ac:chgData name="Ettore Minelli" userId="7870a1ad-01cf-4239-8cce-750deae7f4ef" providerId="ADAL" clId="{D5085ABD-D722-4CB6-A6FB-9B8A3461E949}" dt="2022-12-11T11:50:29.913" v="7744" actId="478"/>
          <ac:cxnSpMkLst>
            <pc:docMk/>
            <pc:sldMk cId="1285873257" sldId="274"/>
            <ac:cxnSpMk id="14" creationId="{E5D69B38-42FF-4743-8D00-FB117AF383DA}"/>
          </ac:cxnSpMkLst>
        </pc:cxnChg>
        <pc:cxnChg chg="del">
          <ac:chgData name="Ettore Minelli" userId="7870a1ad-01cf-4239-8cce-750deae7f4ef" providerId="ADAL" clId="{D5085ABD-D722-4CB6-A6FB-9B8A3461E949}" dt="2022-12-11T11:50:29.913" v="7744" actId="478"/>
          <ac:cxnSpMkLst>
            <pc:docMk/>
            <pc:sldMk cId="1285873257" sldId="274"/>
            <ac:cxnSpMk id="45" creationId="{404699E4-3CAB-4CD9-A4AB-A84D04D28171}"/>
          </ac:cxnSpMkLst>
        </pc:cxnChg>
        <pc:cxnChg chg="del">
          <ac:chgData name="Ettore Minelli" userId="7870a1ad-01cf-4239-8cce-750deae7f4ef" providerId="ADAL" clId="{D5085ABD-D722-4CB6-A6FB-9B8A3461E949}" dt="2022-12-11T11:50:29.913" v="7744" actId="478"/>
          <ac:cxnSpMkLst>
            <pc:docMk/>
            <pc:sldMk cId="1285873257" sldId="274"/>
            <ac:cxnSpMk id="46" creationId="{8A8E8FC2-C5CB-4287-AC13-95D540BDF6C0}"/>
          </ac:cxnSpMkLst>
        </pc:cxnChg>
        <pc:cxnChg chg="mod">
          <ac:chgData name="Ettore Minelli" userId="7870a1ad-01cf-4239-8cce-750deae7f4ef" providerId="ADAL" clId="{D5085ABD-D722-4CB6-A6FB-9B8A3461E949}" dt="2022-12-11T11:50:37.680" v="7746" actId="164"/>
          <ac:cxnSpMkLst>
            <pc:docMk/>
            <pc:sldMk cId="1285873257" sldId="274"/>
            <ac:cxnSpMk id="50" creationId="{C2AF65DC-E4C4-41DE-8C13-7AA72029A69D}"/>
          </ac:cxnSpMkLst>
        </pc:cxnChg>
        <pc:cxnChg chg="mod">
          <ac:chgData name="Ettore Minelli" userId="7870a1ad-01cf-4239-8cce-750deae7f4ef" providerId="ADAL" clId="{D5085ABD-D722-4CB6-A6FB-9B8A3461E949}" dt="2022-12-11T11:50:37.680" v="7746" actId="164"/>
          <ac:cxnSpMkLst>
            <pc:docMk/>
            <pc:sldMk cId="1285873257" sldId="274"/>
            <ac:cxnSpMk id="51" creationId="{C3681CEC-DD94-4203-8C99-65328BED4206}"/>
          </ac:cxnSpMkLst>
        </pc:cxnChg>
        <pc:cxnChg chg="mod">
          <ac:chgData name="Ettore Minelli" userId="7870a1ad-01cf-4239-8cce-750deae7f4ef" providerId="ADAL" clId="{D5085ABD-D722-4CB6-A6FB-9B8A3461E949}" dt="2022-12-11T11:50:37.680" v="7746" actId="164"/>
          <ac:cxnSpMkLst>
            <pc:docMk/>
            <pc:sldMk cId="1285873257" sldId="274"/>
            <ac:cxnSpMk id="54" creationId="{E6C7E9C4-B217-4745-BF3C-EFD8B15F2AF8}"/>
          </ac:cxnSpMkLst>
        </pc:cxnChg>
        <pc:cxnChg chg="mod">
          <ac:chgData name="Ettore Minelli" userId="7870a1ad-01cf-4239-8cce-750deae7f4ef" providerId="ADAL" clId="{D5085ABD-D722-4CB6-A6FB-9B8A3461E949}" dt="2022-12-11T11:50:37.680" v="7746" actId="164"/>
          <ac:cxnSpMkLst>
            <pc:docMk/>
            <pc:sldMk cId="1285873257" sldId="274"/>
            <ac:cxnSpMk id="56" creationId="{A8496FCB-33EF-4663-A003-663AF6084470}"/>
          </ac:cxnSpMkLst>
        </pc:cxnChg>
        <pc:cxnChg chg="mod">
          <ac:chgData name="Ettore Minelli" userId="7870a1ad-01cf-4239-8cce-750deae7f4ef" providerId="ADAL" clId="{D5085ABD-D722-4CB6-A6FB-9B8A3461E949}" dt="2022-12-11T11:50:37.680" v="7746" actId="164"/>
          <ac:cxnSpMkLst>
            <pc:docMk/>
            <pc:sldMk cId="1285873257" sldId="274"/>
            <ac:cxnSpMk id="57" creationId="{07CD3454-B7F9-437F-9697-2015C97CBD41}"/>
          </ac:cxnSpMkLst>
        </pc:cxnChg>
        <pc:cxnChg chg="mod">
          <ac:chgData name="Ettore Minelli" userId="7870a1ad-01cf-4239-8cce-750deae7f4ef" providerId="ADAL" clId="{D5085ABD-D722-4CB6-A6FB-9B8A3461E949}" dt="2022-12-11T11:50:37.680" v="7746" actId="164"/>
          <ac:cxnSpMkLst>
            <pc:docMk/>
            <pc:sldMk cId="1285873257" sldId="274"/>
            <ac:cxnSpMk id="82" creationId="{76601143-8F6C-437C-8CE0-9FA4FDF1B35C}"/>
          </ac:cxnSpMkLst>
        </pc:cxnChg>
        <pc:cxnChg chg="mod">
          <ac:chgData name="Ettore Minelli" userId="7870a1ad-01cf-4239-8cce-750deae7f4ef" providerId="ADAL" clId="{D5085ABD-D722-4CB6-A6FB-9B8A3461E949}" dt="2022-12-11T11:50:37.680" v="7746" actId="164"/>
          <ac:cxnSpMkLst>
            <pc:docMk/>
            <pc:sldMk cId="1285873257" sldId="274"/>
            <ac:cxnSpMk id="90" creationId="{132A9B2F-BCEA-4EF5-9BB4-BBC382F9E251}"/>
          </ac:cxnSpMkLst>
        </pc:cxnChg>
        <pc:cxnChg chg="del mod">
          <ac:chgData name="Ettore Minelli" userId="7870a1ad-01cf-4239-8cce-750deae7f4ef" providerId="ADAL" clId="{D5085ABD-D722-4CB6-A6FB-9B8A3461E949}" dt="2022-12-11T11:50:29.913" v="7744" actId="478"/>
          <ac:cxnSpMkLst>
            <pc:docMk/>
            <pc:sldMk cId="1285873257" sldId="274"/>
            <ac:cxnSpMk id="1025" creationId="{D4949405-BC5B-43E9-A453-64AD798021BC}"/>
          </ac:cxnSpMkLst>
        </pc:cxnChg>
        <pc:cxnChg chg="del mod">
          <ac:chgData name="Ettore Minelli" userId="7870a1ad-01cf-4239-8cce-750deae7f4ef" providerId="ADAL" clId="{D5085ABD-D722-4CB6-A6FB-9B8A3461E949}" dt="2022-12-11T11:50:29.913" v="7744" actId="478"/>
          <ac:cxnSpMkLst>
            <pc:docMk/>
            <pc:sldMk cId="1285873257" sldId="274"/>
            <ac:cxnSpMk id="1030" creationId="{6E514224-EF44-4579-9AB4-6B9FB8BA7881}"/>
          </ac:cxnSpMkLst>
        </pc:cxnChg>
        <pc:cxnChg chg="del">
          <ac:chgData name="Ettore Minelli" userId="7870a1ad-01cf-4239-8cce-750deae7f4ef" providerId="ADAL" clId="{D5085ABD-D722-4CB6-A6FB-9B8A3461E949}" dt="2022-12-11T11:50:29.913" v="7744" actId="478"/>
          <ac:cxnSpMkLst>
            <pc:docMk/>
            <pc:sldMk cId="1285873257" sldId="274"/>
            <ac:cxnSpMk id="1035" creationId="{104DCB7F-B7AE-4026-8592-5239FEB370D6}"/>
          </ac:cxnSpMkLst>
        </pc:cxnChg>
        <pc:cxnChg chg="mod">
          <ac:chgData name="Ettore Minelli" userId="7870a1ad-01cf-4239-8cce-750deae7f4ef" providerId="ADAL" clId="{D5085ABD-D722-4CB6-A6FB-9B8A3461E949}" dt="2022-12-11T11:50:37.680" v="7746" actId="164"/>
          <ac:cxnSpMkLst>
            <pc:docMk/>
            <pc:sldMk cId="1285873257" sldId="274"/>
            <ac:cxnSpMk id="1040" creationId="{7972AA7C-2944-4848-B2F6-7E354703BFC2}"/>
          </ac:cxnSpMkLst>
        </pc:cxnChg>
        <pc:cxnChg chg="mod">
          <ac:chgData name="Ettore Minelli" userId="7870a1ad-01cf-4239-8cce-750deae7f4ef" providerId="ADAL" clId="{D5085ABD-D722-4CB6-A6FB-9B8A3461E949}" dt="2022-12-11T11:50:37.680" v="7746" actId="164"/>
          <ac:cxnSpMkLst>
            <pc:docMk/>
            <pc:sldMk cId="1285873257" sldId="274"/>
            <ac:cxnSpMk id="1044" creationId="{6CB1BA42-A987-4E5C-BE42-0CC07F158753}"/>
          </ac:cxnSpMkLst>
        </pc:cxnChg>
        <pc:cxnChg chg="mod">
          <ac:chgData name="Ettore Minelli" userId="7870a1ad-01cf-4239-8cce-750deae7f4ef" providerId="ADAL" clId="{D5085ABD-D722-4CB6-A6FB-9B8A3461E949}" dt="2022-12-11T11:50:37.680" v="7746" actId="164"/>
          <ac:cxnSpMkLst>
            <pc:docMk/>
            <pc:sldMk cId="1285873257" sldId="274"/>
            <ac:cxnSpMk id="1046" creationId="{AACFA887-B692-4898-857F-54BAB6B26EC2}"/>
          </ac:cxnSpMkLst>
        </pc:cxnChg>
      </pc:sldChg>
      <pc:sldChg chg="add del">
        <pc:chgData name="Ettore Minelli" userId="7870a1ad-01cf-4239-8cce-750deae7f4ef" providerId="ADAL" clId="{D5085ABD-D722-4CB6-A6FB-9B8A3461E949}" dt="2022-12-11T11:37:21.350" v="7472" actId="47"/>
        <pc:sldMkLst>
          <pc:docMk/>
          <pc:sldMk cId="2947977466" sldId="274"/>
        </pc:sldMkLst>
      </pc:sldChg>
      <pc:sldChg chg="modSp add mod ord">
        <pc:chgData name="Ettore Minelli" userId="7870a1ad-01cf-4239-8cce-750deae7f4ef" providerId="ADAL" clId="{D5085ABD-D722-4CB6-A6FB-9B8A3461E949}" dt="2022-12-13T13:08:33.470" v="9106" actId="20577"/>
        <pc:sldMkLst>
          <pc:docMk/>
          <pc:sldMk cId="1766925690" sldId="275"/>
        </pc:sldMkLst>
        <pc:spChg chg="mod">
          <ac:chgData name="Ettore Minelli" userId="7870a1ad-01cf-4239-8cce-750deae7f4ef" providerId="ADAL" clId="{D5085ABD-D722-4CB6-A6FB-9B8A3461E949}" dt="2022-12-11T11:53:23.978" v="7760" actId="114"/>
          <ac:spMkLst>
            <pc:docMk/>
            <pc:sldMk cId="1766925690" sldId="275"/>
            <ac:spMk id="2" creationId="{C5E8BAFC-CF07-471F-BA02-4BA18594B316}"/>
          </ac:spMkLst>
        </pc:spChg>
        <pc:spChg chg="mod">
          <ac:chgData name="Ettore Minelli" userId="7870a1ad-01cf-4239-8cce-750deae7f4ef" providerId="ADAL" clId="{D5085ABD-D722-4CB6-A6FB-9B8A3461E949}" dt="2022-12-13T13:08:33.470" v="9106" actId="20577"/>
          <ac:spMkLst>
            <pc:docMk/>
            <pc:sldMk cId="1766925690" sldId="275"/>
            <ac:spMk id="15" creationId="{2CF0CF0A-5EF8-4774-B838-8A27680D94FC}"/>
          </ac:spMkLst>
        </pc:spChg>
      </pc:sldChg>
      <pc:sldChg chg="add del">
        <pc:chgData name="Ettore Minelli" userId="7870a1ad-01cf-4239-8cce-750deae7f4ef" providerId="ADAL" clId="{D5085ABD-D722-4CB6-A6FB-9B8A3461E949}" dt="2022-12-11T11:52:59.866" v="7755"/>
        <pc:sldMkLst>
          <pc:docMk/>
          <pc:sldMk cId="3515480681" sldId="275"/>
        </pc:sldMkLst>
      </pc:sldChg>
      <pc:sldChg chg="add del">
        <pc:chgData name="Ettore Minelli" userId="7870a1ad-01cf-4239-8cce-750deae7f4ef" providerId="ADAL" clId="{D5085ABD-D722-4CB6-A6FB-9B8A3461E949}" dt="2022-12-12T18:42:53.377" v="8053"/>
        <pc:sldMkLst>
          <pc:docMk/>
          <pc:sldMk cId="811849808" sldId="276"/>
        </pc:sldMkLst>
      </pc:sldChg>
      <pc:sldMasterChg chg="addSp delSp modSp mod addSldLayout delSldLayout modSldLayout">
        <pc:chgData name="Ettore Minelli" userId="7870a1ad-01cf-4239-8cce-750deae7f4ef" providerId="ADAL" clId="{D5085ABD-D722-4CB6-A6FB-9B8A3461E949}" dt="2022-12-03T11:09:40.665" v="94" actId="2696"/>
        <pc:sldMasterMkLst>
          <pc:docMk/>
          <pc:sldMasterMk cId="28927288" sldId="2147483648"/>
        </pc:sldMasterMkLst>
        <pc:spChg chg="mod">
          <ac:chgData name="Ettore Minelli" userId="7870a1ad-01cf-4239-8cce-750deae7f4ef" providerId="ADAL" clId="{D5085ABD-D722-4CB6-A6FB-9B8A3461E949}" dt="2022-12-03T11:05:51.308" v="4" actId="948"/>
          <ac:spMkLst>
            <pc:docMk/>
            <pc:sldMasterMk cId="28927288" sldId="2147483648"/>
            <ac:spMk id="2" creationId="{85606117-647E-4D01-AE98-31B6A3F67C3C}"/>
          </ac:spMkLst>
        </pc:spChg>
        <pc:spChg chg="add del mod modVis">
          <ac:chgData name="Ettore Minelli" userId="7870a1ad-01cf-4239-8cce-750deae7f4ef" providerId="ADAL" clId="{D5085ABD-D722-4CB6-A6FB-9B8A3461E949}" dt="2022-12-03T11:05:51.602" v="44"/>
          <ac:spMkLst>
            <pc:docMk/>
            <pc:sldMasterMk cId="28927288" sldId="2147483648"/>
            <ac:spMk id="7" creationId="{E43932C5-AE58-429E-82F6-3270382992CE}"/>
          </ac:spMkLst>
        </pc:spChg>
        <pc:graphicFrameChg chg="add mod ord modVis replST">
          <ac:chgData name="Ettore Minelli" userId="7870a1ad-01cf-4239-8cce-750deae7f4ef" providerId="ADAL" clId="{D5085ABD-D722-4CB6-A6FB-9B8A3461E949}" dt="2022-12-03T11:05:51.724" v="60"/>
          <ac:graphicFrameMkLst>
            <pc:docMk/>
            <pc:sldMasterMk cId="28927288" sldId="2147483648"/>
            <ac:graphicFrameMk id="8" creationId="{F7E551E1-6192-4CC1-8EA2-86776705AE20}"/>
          </ac:graphicFrameMkLst>
        </pc:graphicFrameChg>
        <pc:sldLayoutChg chg="del">
          <pc:chgData name="Ettore Minelli" userId="7870a1ad-01cf-4239-8cce-750deae7f4ef" providerId="ADAL" clId="{D5085ABD-D722-4CB6-A6FB-9B8A3461E949}" dt="2022-12-03T11:09:40.665" v="94" actId="2696"/>
          <pc:sldLayoutMkLst>
            <pc:docMk/>
            <pc:sldMasterMk cId="28927288" sldId="2147483648"/>
            <pc:sldLayoutMk cId="3587099447" sldId="2147483650"/>
          </pc:sldLayoutMkLst>
        </pc:sldLayoutChg>
        <pc:sldLayoutChg chg="del">
          <pc:chgData name="Ettore Minelli" userId="7870a1ad-01cf-4239-8cce-750deae7f4ef" providerId="ADAL" clId="{D5085ABD-D722-4CB6-A6FB-9B8A3461E949}" dt="2022-12-03T11:09:40.411" v="93" actId="2696"/>
          <pc:sldLayoutMkLst>
            <pc:docMk/>
            <pc:sldMasterMk cId="28927288" sldId="2147483648"/>
            <pc:sldLayoutMk cId="4100451419" sldId="2147483651"/>
          </pc:sldLayoutMkLst>
        </pc:sldLayoutChg>
        <pc:sldLayoutChg chg="del">
          <pc:chgData name="Ettore Minelli" userId="7870a1ad-01cf-4239-8cce-750deae7f4ef" providerId="ADAL" clId="{D5085ABD-D722-4CB6-A6FB-9B8A3461E949}" dt="2022-12-03T11:09:40.264" v="92" actId="2696"/>
          <pc:sldLayoutMkLst>
            <pc:docMk/>
            <pc:sldMasterMk cId="28927288" sldId="2147483648"/>
            <pc:sldLayoutMk cId="1049590476" sldId="2147483652"/>
          </pc:sldLayoutMkLst>
        </pc:sldLayoutChg>
        <pc:sldLayoutChg chg="del">
          <pc:chgData name="Ettore Minelli" userId="7870a1ad-01cf-4239-8cce-750deae7f4ef" providerId="ADAL" clId="{D5085ABD-D722-4CB6-A6FB-9B8A3461E949}" dt="2022-12-03T11:09:40.111" v="91" actId="2696"/>
          <pc:sldLayoutMkLst>
            <pc:docMk/>
            <pc:sldMasterMk cId="28927288" sldId="2147483648"/>
            <pc:sldLayoutMk cId="1116080662" sldId="2147483653"/>
          </pc:sldLayoutMkLst>
        </pc:sldLayoutChg>
        <pc:sldLayoutChg chg="del">
          <pc:chgData name="Ettore Minelli" userId="7870a1ad-01cf-4239-8cce-750deae7f4ef" providerId="ADAL" clId="{D5085ABD-D722-4CB6-A6FB-9B8A3461E949}" dt="2022-12-03T11:09:39.963" v="90" actId="2696"/>
          <pc:sldLayoutMkLst>
            <pc:docMk/>
            <pc:sldMasterMk cId="28927288" sldId="2147483648"/>
            <pc:sldLayoutMk cId="2376953971" sldId="2147483654"/>
          </pc:sldLayoutMkLst>
        </pc:sldLayoutChg>
        <pc:sldLayoutChg chg="del">
          <pc:chgData name="Ettore Minelli" userId="7870a1ad-01cf-4239-8cce-750deae7f4ef" providerId="ADAL" clId="{D5085ABD-D722-4CB6-A6FB-9B8A3461E949}" dt="2022-12-03T11:09:39.878" v="89" actId="2696"/>
          <pc:sldLayoutMkLst>
            <pc:docMk/>
            <pc:sldMasterMk cId="28927288" sldId="2147483648"/>
            <pc:sldLayoutMk cId="2600862732" sldId="2147483655"/>
          </pc:sldLayoutMkLst>
        </pc:sldLayoutChg>
        <pc:sldLayoutChg chg="del">
          <pc:chgData name="Ettore Minelli" userId="7870a1ad-01cf-4239-8cce-750deae7f4ef" providerId="ADAL" clId="{D5085ABD-D722-4CB6-A6FB-9B8A3461E949}" dt="2022-12-03T11:09:39.677" v="88" actId="2696"/>
          <pc:sldLayoutMkLst>
            <pc:docMk/>
            <pc:sldMasterMk cId="28927288" sldId="2147483648"/>
            <pc:sldLayoutMk cId="3491204368" sldId="2147483656"/>
          </pc:sldLayoutMkLst>
        </pc:sldLayoutChg>
        <pc:sldLayoutChg chg="del">
          <pc:chgData name="Ettore Minelli" userId="7870a1ad-01cf-4239-8cce-750deae7f4ef" providerId="ADAL" clId="{D5085ABD-D722-4CB6-A6FB-9B8A3461E949}" dt="2022-12-03T11:09:39.507" v="87" actId="2696"/>
          <pc:sldLayoutMkLst>
            <pc:docMk/>
            <pc:sldMasterMk cId="28927288" sldId="2147483648"/>
            <pc:sldLayoutMk cId="3224063642" sldId="2147483657"/>
          </pc:sldLayoutMkLst>
        </pc:sldLayoutChg>
        <pc:sldLayoutChg chg="del">
          <pc:chgData name="Ettore Minelli" userId="7870a1ad-01cf-4239-8cce-750deae7f4ef" providerId="ADAL" clId="{D5085ABD-D722-4CB6-A6FB-9B8A3461E949}" dt="2022-12-03T11:09:39.222" v="86" actId="2696"/>
          <pc:sldLayoutMkLst>
            <pc:docMk/>
            <pc:sldMasterMk cId="28927288" sldId="2147483648"/>
            <pc:sldLayoutMk cId="3071264055" sldId="2147483658"/>
          </pc:sldLayoutMkLst>
        </pc:sldLayoutChg>
        <pc:sldLayoutChg chg="del">
          <pc:chgData name="Ettore Minelli" userId="7870a1ad-01cf-4239-8cce-750deae7f4ef" providerId="ADAL" clId="{D5085ABD-D722-4CB6-A6FB-9B8A3461E949}" dt="2022-12-03T11:09:38.822" v="85" actId="2696"/>
          <pc:sldLayoutMkLst>
            <pc:docMk/>
            <pc:sldMasterMk cId="28927288" sldId="2147483648"/>
            <pc:sldLayoutMk cId="3702386939" sldId="2147483659"/>
          </pc:sldLayoutMkLst>
        </pc:sldLayoutChg>
        <pc:sldLayoutChg chg="new del mod">
          <pc:chgData name="Ettore Minelli" userId="7870a1ad-01cf-4239-8cce-750deae7f4ef" providerId="ADAL" clId="{D5085ABD-D722-4CB6-A6FB-9B8A3461E949}" dt="2022-12-03T11:09:09.763" v="84" actId="2696"/>
          <pc:sldLayoutMkLst>
            <pc:docMk/>
            <pc:sldMasterMk cId="28927288" sldId="2147483648"/>
            <pc:sldLayoutMk cId="2007551786" sldId="2147483660"/>
          </pc:sldLayoutMkLst>
        </pc:sldLayoutChg>
      </pc:sldMasterChg>
    </pc:docChg>
  </pc:docChgLst>
  <pc:docChgLst>
    <pc:chgData name="Ettore Minelli" userId="7870a1ad-01cf-4239-8cce-750deae7f4ef" providerId="ADAL" clId="{7F983524-EBAA-4C85-82B0-1D8A51B3C262}"/>
    <pc:docChg chg="undo custSel delSld modSld delSection modSection">
      <pc:chgData name="Ettore Minelli" userId="7870a1ad-01cf-4239-8cce-750deae7f4ef" providerId="ADAL" clId="{7F983524-EBAA-4C85-82B0-1D8A51B3C262}" dt="2022-12-15T09:21:54.231" v="1380" actId="20577"/>
      <pc:docMkLst>
        <pc:docMk/>
      </pc:docMkLst>
      <pc:sldChg chg="modSp mod">
        <pc:chgData name="Ettore Minelli" userId="7870a1ad-01cf-4239-8cce-750deae7f4ef" providerId="ADAL" clId="{7F983524-EBAA-4C85-82B0-1D8A51B3C262}" dt="2022-12-15T08:32:15.592" v="76"/>
        <pc:sldMkLst>
          <pc:docMk/>
          <pc:sldMk cId="170408520" sldId="256"/>
        </pc:sldMkLst>
        <pc:spChg chg="mod">
          <ac:chgData name="Ettore Minelli" userId="7870a1ad-01cf-4239-8cce-750deae7f4ef" providerId="ADAL" clId="{7F983524-EBAA-4C85-82B0-1D8A51B3C262}" dt="2022-12-15T08:32:15.592" v="76"/>
          <ac:spMkLst>
            <pc:docMk/>
            <pc:sldMk cId="170408520" sldId="256"/>
            <ac:spMk id="16" creationId="{6A1D0711-6C04-41FE-8C4D-618851F6D4CD}"/>
          </ac:spMkLst>
        </pc:spChg>
      </pc:sldChg>
      <pc:sldChg chg="addSp modSp mod">
        <pc:chgData name="Ettore Minelli" userId="7870a1ad-01cf-4239-8cce-750deae7f4ef" providerId="ADAL" clId="{7F983524-EBAA-4C85-82B0-1D8A51B3C262}" dt="2022-12-15T09:21:54.231" v="1380" actId="20577"/>
        <pc:sldMkLst>
          <pc:docMk/>
          <pc:sldMk cId="3217450606" sldId="259"/>
        </pc:sldMkLst>
        <pc:spChg chg="add mod">
          <ac:chgData name="Ettore Minelli" userId="7870a1ad-01cf-4239-8cce-750deae7f4ef" providerId="ADAL" clId="{7F983524-EBAA-4C85-82B0-1D8A51B3C262}" dt="2022-12-15T09:10:02.092" v="1153"/>
          <ac:spMkLst>
            <pc:docMk/>
            <pc:sldMk cId="3217450606" sldId="259"/>
            <ac:spMk id="17" creationId="{93248548-8812-41B1-B506-CAB3BCD48E96}"/>
          </ac:spMkLst>
        </pc:spChg>
        <pc:spChg chg="add mod">
          <ac:chgData name="Ettore Minelli" userId="7870a1ad-01cf-4239-8cce-750deae7f4ef" providerId="ADAL" clId="{7F983524-EBAA-4C85-82B0-1D8A51B3C262}" dt="2022-12-15T09:10:16.860" v="1157" actId="20577"/>
          <ac:spMkLst>
            <pc:docMk/>
            <pc:sldMk cId="3217450606" sldId="259"/>
            <ac:spMk id="23" creationId="{0F6A05EE-B7C0-4B19-B4D5-F722049EEB90}"/>
          </ac:spMkLst>
        </pc:spChg>
        <pc:spChg chg="add mod">
          <ac:chgData name="Ettore Minelli" userId="7870a1ad-01cf-4239-8cce-750deae7f4ef" providerId="ADAL" clId="{7F983524-EBAA-4C85-82B0-1D8A51B3C262}" dt="2022-12-15T09:10:37.785" v="1160" actId="571"/>
          <ac:spMkLst>
            <pc:docMk/>
            <pc:sldMk cId="3217450606" sldId="259"/>
            <ac:spMk id="24" creationId="{6FE1D531-7891-4B5E-A617-8B9759A8CB45}"/>
          </ac:spMkLst>
        </pc:spChg>
        <pc:spChg chg="add mod">
          <ac:chgData name="Ettore Minelli" userId="7870a1ad-01cf-4239-8cce-750deae7f4ef" providerId="ADAL" clId="{7F983524-EBAA-4C85-82B0-1D8A51B3C262}" dt="2022-12-15T09:10:37.785" v="1160" actId="571"/>
          <ac:spMkLst>
            <pc:docMk/>
            <pc:sldMk cId="3217450606" sldId="259"/>
            <ac:spMk id="25" creationId="{77FBD008-15B6-486F-9B15-55F5D9B72B09}"/>
          </ac:spMkLst>
        </pc:spChg>
        <pc:spChg chg="add mod">
          <ac:chgData name="Ettore Minelli" userId="7870a1ad-01cf-4239-8cce-750deae7f4ef" providerId="ADAL" clId="{7F983524-EBAA-4C85-82B0-1D8A51B3C262}" dt="2022-12-15T09:10:43.038" v="1162" actId="571"/>
          <ac:spMkLst>
            <pc:docMk/>
            <pc:sldMk cId="3217450606" sldId="259"/>
            <ac:spMk id="26" creationId="{56758BC4-C06F-4CC5-BEF8-BEE544F9EF5E}"/>
          </ac:spMkLst>
        </pc:spChg>
        <pc:spChg chg="add mod">
          <ac:chgData name="Ettore Minelli" userId="7870a1ad-01cf-4239-8cce-750deae7f4ef" providerId="ADAL" clId="{7F983524-EBAA-4C85-82B0-1D8A51B3C262}" dt="2022-12-15T09:10:43.038" v="1162" actId="571"/>
          <ac:spMkLst>
            <pc:docMk/>
            <pc:sldMk cId="3217450606" sldId="259"/>
            <ac:spMk id="27" creationId="{94ED706F-8092-4B2B-91B9-FDCC6F731A52}"/>
          </ac:spMkLst>
        </pc:spChg>
        <pc:spChg chg="add mod">
          <ac:chgData name="Ettore Minelli" userId="7870a1ad-01cf-4239-8cce-750deae7f4ef" providerId="ADAL" clId="{7F983524-EBAA-4C85-82B0-1D8A51B3C262}" dt="2022-12-15T09:10:57.563" v="1165" actId="20577"/>
          <ac:spMkLst>
            <pc:docMk/>
            <pc:sldMk cId="3217450606" sldId="259"/>
            <ac:spMk id="28" creationId="{9684C93D-BB91-4821-9ED9-59C148888971}"/>
          </ac:spMkLst>
        </pc:spChg>
        <pc:spChg chg="add mod">
          <ac:chgData name="Ettore Minelli" userId="7870a1ad-01cf-4239-8cce-750deae7f4ef" providerId="ADAL" clId="{7F983524-EBAA-4C85-82B0-1D8A51B3C262}" dt="2022-12-15T09:11:00.939" v="1167" actId="20577"/>
          <ac:spMkLst>
            <pc:docMk/>
            <pc:sldMk cId="3217450606" sldId="259"/>
            <ac:spMk id="29" creationId="{65BF0032-5E68-46F3-934A-70E760F004EC}"/>
          </ac:spMkLst>
        </pc:spChg>
        <pc:spChg chg="add mod">
          <ac:chgData name="Ettore Minelli" userId="7870a1ad-01cf-4239-8cce-750deae7f4ef" providerId="ADAL" clId="{7F983524-EBAA-4C85-82B0-1D8A51B3C262}" dt="2022-12-15T09:21:54.231" v="1380" actId="20577"/>
          <ac:spMkLst>
            <pc:docMk/>
            <pc:sldMk cId="3217450606" sldId="259"/>
            <ac:spMk id="30" creationId="{CB63D3DA-2971-4C63-9802-A4C4D275B756}"/>
          </ac:spMkLst>
        </pc:spChg>
        <pc:graphicFrameChg chg="mod">
          <ac:chgData name="Ettore Minelli" userId="7870a1ad-01cf-4239-8cce-750deae7f4ef" providerId="ADAL" clId="{7F983524-EBAA-4C85-82B0-1D8A51B3C262}" dt="2022-12-15T09:10:27.749" v="1158" actId="1076"/>
          <ac:graphicFrameMkLst>
            <pc:docMk/>
            <pc:sldMk cId="3217450606" sldId="259"/>
            <ac:graphicFrameMk id="18" creationId="{ABF3DC66-6100-4574-8B33-D0042FCC8E17}"/>
          </ac:graphicFrameMkLst>
        </pc:graphicFrameChg>
        <pc:graphicFrameChg chg="mod">
          <ac:chgData name="Ettore Minelli" userId="7870a1ad-01cf-4239-8cce-750deae7f4ef" providerId="ADAL" clId="{7F983524-EBAA-4C85-82B0-1D8A51B3C262}" dt="2022-12-15T09:10:27.749" v="1158" actId="1076"/>
          <ac:graphicFrameMkLst>
            <pc:docMk/>
            <pc:sldMk cId="3217450606" sldId="259"/>
            <ac:graphicFrameMk id="19" creationId="{287D3AFF-5E27-42C2-A643-C28B459AD772}"/>
          </ac:graphicFrameMkLst>
        </pc:graphicFrameChg>
      </pc:sldChg>
      <pc:sldChg chg="addSp modSp mod">
        <pc:chgData name="Ettore Minelli" userId="7870a1ad-01cf-4239-8cce-750deae7f4ef" providerId="ADAL" clId="{7F983524-EBAA-4C85-82B0-1D8A51B3C262}" dt="2022-12-15T09:20:40.393" v="1357" actId="20577"/>
        <pc:sldMkLst>
          <pc:docMk/>
          <pc:sldMk cId="150756695" sldId="261"/>
        </pc:sldMkLst>
        <pc:spChg chg="mod">
          <ac:chgData name="Ettore Minelli" userId="7870a1ad-01cf-4239-8cce-750deae7f4ef" providerId="ADAL" clId="{7F983524-EBAA-4C85-82B0-1D8A51B3C262}" dt="2022-12-15T08:31:35.002" v="73" actId="20577"/>
          <ac:spMkLst>
            <pc:docMk/>
            <pc:sldMk cId="150756695" sldId="261"/>
            <ac:spMk id="2" creationId="{C5E8BAFC-CF07-471F-BA02-4BA18594B316}"/>
          </ac:spMkLst>
        </pc:spChg>
        <pc:spChg chg="mod">
          <ac:chgData name="Ettore Minelli" userId="7870a1ad-01cf-4239-8cce-750deae7f4ef" providerId="ADAL" clId="{7F983524-EBAA-4C85-82B0-1D8A51B3C262}" dt="2022-12-15T09:19:28.140" v="1276" actId="20577"/>
          <ac:spMkLst>
            <pc:docMk/>
            <pc:sldMk cId="150756695" sldId="261"/>
            <ac:spMk id="3" creationId="{F2F0E44F-8DDB-442D-A445-D804136F0390}"/>
          </ac:spMkLst>
        </pc:spChg>
        <pc:spChg chg="add mod">
          <ac:chgData name="Ettore Minelli" userId="7870a1ad-01cf-4239-8cce-750deae7f4ef" providerId="ADAL" clId="{7F983524-EBAA-4C85-82B0-1D8A51B3C262}" dt="2022-12-15T09:20:40.393" v="1357" actId="20577"/>
          <ac:spMkLst>
            <pc:docMk/>
            <pc:sldMk cId="150756695" sldId="261"/>
            <ac:spMk id="12" creationId="{2BAC0395-E925-4A13-A5F2-52D456C39297}"/>
          </ac:spMkLst>
        </pc:spChg>
      </pc:sldChg>
      <pc:sldChg chg="delSp modSp mod">
        <pc:chgData name="Ettore Minelli" userId="7870a1ad-01cf-4239-8cce-750deae7f4ef" providerId="ADAL" clId="{7F983524-EBAA-4C85-82B0-1D8A51B3C262}" dt="2022-12-15T09:21:05.233" v="1369" actId="20577"/>
        <pc:sldMkLst>
          <pc:docMk/>
          <pc:sldMk cId="906059187" sldId="262"/>
        </pc:sldMkLst>
        <pc:spChg chg="mod">
          <ac:chgData name="Ettore Minelli" userId="7870a1ad-01cf-4239-8cce-750deae7f4ef" providerId="ADAL" clId="{7F983524-EBAA-4C85-82B0-1D8A51B3C262}" dt="2022-12-15T08:41:04.906" v="337" actId="165"/>
          <ac:spMkLst>
            <pc:docMk/>
            <pc:sldMk cId="906059187" sldId="262"/>
            <ac:spMk id="12" creationId="{7B34BBD2-D9CD-4350-A4D3-2AC72D485B9E}"/>
          </ac:spMkLst>
        </pc:spChg>
        <pc:spChg chg="mod">
          <ac:chgData name="Ettore Minelli" userId="7870a1ad-01cf-4239-8cce-750deae7f4ef" providerId="ADAL" clId="{7F983524-EBAA-4C85-82B0-1D8A51B3C262}" dt="2022-12-15T08:41:04.906" v="337" actId="165"/>
          <ac:spMkLst>
            <pc:docMk/>
            <pc:sldMk cId="906059187" sldId="262"/>
            <ac:spMk id="13" creationId="{8FF6D0AB-8468-4955-966B-8435FA396D00}"/>
          </ac:spMkLst>
        </pc:spChg>
        <pc:spChg chg="mod">
          <ac:chgData name="Ettore Minelli" userId="7870a1ad-01cf-4239-8cce-750deae7f4ef" providerId="ADAL" clId="{7F983524-EBAA-4C85-82B0-1D8A51B3C262}" dt="2022-12-15T08:41:04.906" v="337" actId="165"/>
          <ac:spMkLst>
            <pc:docMk/>
            <pc:sldMk cId="906059187" sldId="262"/>
            <ac:spMk id="14" creationId="{1FA7FB96-413B-4945-B12A-3498587BED95}"/>
          </ac:spMkLst>
        </pc:spChg>
        <pc:spChg chg="mod">
          <ac:chgData name="Ettore Minelli" userId="7870a1ad-01cf-4239-8cce-750deae7f4ef" providerId="ADAL" clId="{7F983524-EBAA-4C85-82B0-1D8A51B3C262}" dt="2022-12-15T08:41:04.906" v="337" actId="165"/>
          <ac:spMkLst>
            <pc:docMk/>
            <pc:sldMk cId="906059187" sldId="262"/>
            <ac:spMk id="17" creationId="{4DD4DB83-58FB-4FFA-85D3-ED2384A88AF5}"/>
          </ac:spMkLst>
        </pc:spChg>
        <pc:spChg chg="mod">
          <ac:chgData name="Ettore Minelli" userId="7870a1ad-01cf-4239-8cce-750deae7f4ef" providerId="ADAL" clId="{7F983524-EBAA-4C85-82B0-1D8A51B3C262}" dt="2022-12-15T08:41:04.906" v="337" actId="165"/>
          <ac:spMkLst>
            <pc:docMk/>
            <pc:sldMk cId="906059187" sldId="262"/>
            <ac:spMk id="18" creationId="{EDAC9EA1-6F6B-4805-BA4F-22768779A91C}"/>
          </ac:spMkLst>
        </pc:spChg>
        <pc:spChg chg="mod">
          <ac:chgData name="Ettore Minelli" userId="7870a1ad-01cf-4239-8cce-750deae7f4ef" providerId="ADAL" clId="{7F983524-EBAA-4C85-82B0-1D8A51B3C262}" dt="2022-12-15T08:41:04.906" v="337" actId="165"/>
          <ac:spMkLst>
            <pc:docMk/>
            <pc:sldMk cId="906059187" sldId="262"/>
            <ac:spMk id="19" creationId="{020BDA0D-C377-41DF-9B27-3F8BB71139D2}"/>
          </ac:spMkLst>
        </pc:spChg>
        <pc:spChg chg="mod">
          <ac:chgData name="Ettore Minelli" userId="7870a1ad-01cf-4239-8cce-750deae7f4ef" providerId="ADAL" clId="{7F983524-EBAA-4C85-82B0-1D8A51B3C262}" dt="2022-12-15T08:41:04.906" v="337" actId="165"/>
          <ac:spMkLst>
            <pc:docMk/>
            <pc:sldMk cId="906059187" sldId="262"/>
            <ac:spMk id="20" creationId="{BFD0A50A-F9CD-4A55-989C-27689196E03D}"/>
          </ac:spMkLst>
        </pc:spChg>
        <pc:spChg chg="mod">
          <ac:chgData name="Ettore Minelli" userId="7870a1ad-01cf-4239-8cce-750deae7f4ef" providerId="ADAL" clId="{7F983524-EBAA-4C85-82B0-1D8A51B3C262}" dt="2022-12-15T08:41:04.906" v="337" actId="165"/>
          <ac:spMkLst>
            <pc:docMk/>
            <pc:sldMk cId="906059187" sldId="262"/>
            <ac:spMk id="21" creationId="{D681D5EC-489A-4CD0-AA79-30471FC00FEB}"/>
          </ac:spMkLst>
        </pc:spChg>
        <pc:spChg chg="mod">
          <ac:chgData name="Ettore Minelli" userId="7870a1ad-01cf-4239-8cce-750deae7f4ef" providerId="ADAL" clId="{7F983524-EBAA-4C85-82B0-1D8A51B3C262}" dt="2022-12-15T08:41:04.906" v="337" actId="165"/>
          <ac:spMkLst>
            <pc:docMk/>
            <pc:sldMk cId="906059187" sldId="262"/>
            <ac:spMk id="22" creationId="{EE584292-3CCD-4216-A189-513FECBFB5F5}"/>
          </ac:spMkLst>
        </pc:spChg>
        <pc:spChg chg="mod">
          <ac:chgData name="Ettore Minelli" userId="7870a1ad-01cf-4239-8cce-750deae7f4ef" providerId="ADAL" clId="{7F983524-EBAA-4C85-82B0-1D8A51B3C262}" dt="2022-12-15T08:49:18.225" v="593" actId="20577"/>
          <ac:spMkLst>
            <pc:docMk/>
            <pc:sldMk cId="906059187" sldId="262"/>
            <ac:spMk id="23" creationId="{EF2EE201-4ABB-44CF-858E-A35082CAFF68}"/>
          </ac:spMkLst>
        </pc:spChg>
        <pc:spChg chg="mod">
          <ac:chgData name="Ettore Minelli" userId="7870a1ad-01cf-4239-8cce-750deae7f4ef" providerId="ADAL" clId="{7F983524-EBAA-4C85-82B0-1D8A51B3C262}" dt="2022-12-15T09:21:05.233" v="1369" actId="20577"/>
          <ac:spMkLst>
            <pc:docMk/>
            <pc:sldMk cId="906059187" sldId="262"/>
            <ac:spMk id="24" creationId="{F239716C-519C-47D8-AE21-B3AF08703CEC}"/>
          </ac:spMkLst>
        </pc:spChg>
        <pc:spChg chg="mod topLvl">
          <ac:chgData name="Ettore Minelli" userId="7870a1ad-01cf-4239-8cce-750deae7f4ef" providerId="ADAL" clId="{7F983524-EBAA-4C85-82B0-1D8A51B3C262}" dt="2022-12-15T08:41:37.229" v="346" actId="1076"/>
          <ac:spMkLst>
            <pc:docMk/>
            <pc:sldMk cId="906059187" sldId="262"/>
            <ac:spMk id="25" creationId="{6CC97D82-ADD1-4C19-A3BB-819209CE8733}"/>
          </ac:spMkLst>
        </pc:spChg>
        <pc:spChg chg="mod">
          <ac:chgData name="Ettore Minelli" userId="7870a1ad-01cf-4239-8cce-750deae7f4ef" providerId="ADAL" clId="{7F983524-EBAA-4C85-82B0-1D8A51B3C262}" dt="2022-12-15T09:20:54.231" v="1359" actId="20577"/>
          <ac:spMkLst>
            <pc:docMk/>
            <pc:sldMk cId="906059187" sldId="262"/>
            <ac:spMk id="33" creationId="{B6C210CF-C6ED-4D42-980B-928CB46F64E7}"/>
          </ac:spMkLst>
        </pc:spChg>
        <pc:spChg chg="mod">
          <ac:chgData name="Ettore Minelli" userId="7870a1ad-01cf-4239-8cce-750deae7f4ef" providerId="ADAL" clId="{7F983524-EBAA-4C85-82B0-1D8A51B3C262}" dt="2022-12-15T09:21:02.225" v="1367" actId="20577"/>
          <ac:spMkLst>
            <pc:docMk/>
            <pc:sldMk cId="906059187" sldId="262"/>
            <ac:spMk id="34" creationId="{EE45E907-24A8-4352-A159-9953347A9A6F}"/>
          </ac:spMkLst>
        </pc:spChg>
        <pc:grpChg chg="del mod">
          <ac:chgData name="Ettore Minelli" userId="7870a1ad-01cf-4239-8cce-750deae7f4ef" providerId="ADAL" clId="{7F983524-EBAA-4C85-82B0-1D8A51B3C262}" dt="2022-12-15T08:41:04.906" v="337" actId="165"/>
          <ac:grpSpMkLst>
            <pc:docMk/>
            <pc:sldMk cId="906059187" sldId="262"/>
            <ac:grpSpMk id="3" creationId="{0E57DCC4-B2EF-4D78-844C-7F6476286CAA}"/>
          </ac:grpSpMkLst>
        </pc:grpChg>
        <pc:grpChg chg="mod topLvl">
          <ac:chgData name="Ettore Minelli" userId="7870a1ad-01cf-4239-8cce-750deae7f4ef" providerId="ADAL" clId="{7F983524-EBAA-4C85-82B0-1D8A51B3C262}" dt="2022-12-15T08:41:04.906" v="337" actId="165"/>
          <ac:grpSpMkLst>
            <pc:docMk/>
            <pc:sldMk cId="906059187" sldId="262"/>
            <ac:grpSpMk id="11" creationId="{B398363C-19A0-4B4F-B700-98EE9035E2B0}"/>
          </ac:grpSpMkLst>
        </pc:grpChg>
        <pc:graphicFrameChg chg="mod topLvl">
          <ac:chgData name="Ettore Minelli" userId="7870a1ad-01cf-4239-8cce-750deae7f4ef" providerId="ADAL" clId="{7F983524-EBAA-4C85-82B0-1D8A51B3C262}" dt="2022-12-15T08:41:04.906" v="337" actId="165"/>
          <ac:graphicFrameMkLst>
            <pc:docMk/>
            <pc:sldMk cId="906059187" sldId="262"/>
            <ac:graphicFrameMk id="10" creationId="{418CA93C-A096-BEDC-A959-8521A796739F}"/>
          </ac:graphicFrameMkLst>
        </pc:graphicFrameChg>
      </pc:sldChg>
      <pc:sldChg chg="del">
        <pc:chgData name="Ettore Minelli" userId="7870a1ad-01cf-4239-8cce-750deae7f4ef" providerId="ADAL" clId="{7F983524-EBAA-4C85-82B0-1D8A51B3C262}" dt="2022-12-15T09:08:26.846" v="1150" actId="47"/>
        <pc:sldMkLst>
          <pc:docMk/>
          <pc:sldMk cId="2115225907" sldId="263"/>
        </pc:sldMkLst>
      </pc:sldChg>
      <pc:sldChg chg="del">
        <pc:chgData name="Ettore Minelli" userId="7870a1ad-01cf-4239-8cce-750deae7f4ef" providerId="ADAL" clId="{7F983524-EBAA-4C85-82B0-1D8A51B3C262}" dt="2022-12-15T09:08:26.846" v="1150" actId="47"/>
        <pc:sldMkLst>
          <pc:docMk/>
          <pc:sldMk cId="823127600" sldId="265"/>
        </pc:sldMkLst>
      </pc:sldChg>
      <pc:sldChg chg="modSp mod">
        <pc:chgData name="Ettore Minelli" userId="7870a1ad-01cf-4239-8cce-750deae7f4ef" providerId="ADAL" clId="{7F983524-EBAA-4C85-82B0-1D8A51B3C262}" dt="2022-12-15T08:31:17.687" v="49"/>
        <pc:sldMkLst>
          <pc:docMk/>
          <pc:sldMk cId="163570398" sldId="268"/>
        </pc:sldMkLst>
        <pc:spChg chg="mod">
          <ac:chgData name="Ettore Minelli" userId="7870a1ad-01cf-4239-8cce-750deae7f4ef" providerId="ADAL" clId="{7F983524-EBAA-4C85-82B0-1D8A51B3C262}" dt="2022-12-15T08:31:17.687" v="49"/>
          <ac:spMkLst>
            <pc:docMk/>
            <pc:sldMk cId="163570398" sldId="268"/>
            <ac:spMk id="2" creationId="{C5E8BAFC-CF07-471F-BA02-4BA18594B316}"/>
          </ac:spMkLst>
        </pc:spChg>
      </pc:sldChg>
      <pc:sldChg chg="del">
        <pc:chgData name="Ettore Minelli" userId="7870a1ad-01cf-4239-8cce-750deae7f4ef" providerId="ADAL" clId="{7F983524-EBAA-4C85-82B0-1D8A51B3C262}" dt="2022-12-15T09:08:26.846" v="1150" actId="47"/>
        <pc:sldMkLst>
          <pc:docMk/>
          <pc:sldMk cId="1834223401" sldId="270"/>
        </pc:sldMkLst>
      </pc:sldChg>
      <pc:sldChg chg="modSp mod">
        <pc:chgData name="Ettore Minelli" userId="7870a1ad-01cf-4239-8cce-750deae7f4ef" providerId="ADAL" clId="{7F983524-EBAA-4C85-82B0-1D8A51B3C262}" dt="2022-12-15T09:00:16.484" v="1148" actId="20577"/>
        <pc:sldMkLst>
          <pc:docMk/>
          <pc:sldMk cId="1340114911" sldId="272"/>
        </pc:sldMkLst>
        <pc:spChg chg="mod">
          <ac:chgData name="Ettore Minelli" userId="7870a1ad-01cf-4239-8cce-750deae7f4ef" providerId="ADAL" clId="{7F983524-EBAA-4C85-82B0-1D8A51B3C262}" dt="2022-12-15T09:00:16.484" v="1148" actId="20577"/>
          <ac:spMkLst>
            <pc:docMk/>
            <pc:sldMk cId="1340114911" sldId="272"/>
            <ac:spMk id="15" creationId="{2CF0CF0A-5EF8-4774-B838-8A27680D94FC}"/>
          </ac:spMkLst>
        </pc:spChg>
        <pc:spChg chg="mod">
          <ac:chgData name="Ettore Minelli" userId="7870a1ad-01cf-4239-8cce-750deae7f4ef" providerId="ADAL" clId="{7F983524-EBAA-4C85-82B0-1D8A51B3C262}" dt="2022-12-15T08:56:23.206" v="744" actId="20577"/>
          <ac:spMkLst>
            <pc:docMk/>
            <pc:sldMk cId="1340114911" sldId="272"/>
            <ac:spMk id="16" creationId="{6A1D0711-6C04-41FE-8C4D-618851F6D4CD}"/>
          </ac:spMkLst>
        </pc:spChg>
      </pc:sldChg>
      <pc:sldChg chg="modSp mod">
        <pc:chgData name="Ettore Minelli" userId="7870a1ad-01cf-4239-8cce-750deae7f4ef" providerId="ADAL" clId="{7F983524-EBAA-4C85-82B0-1D8A51B3C262}" dt="2022-12-15T08:36:33.373" v="220" actId="20577"/>
        <pc:sldMkLst>
          <pc:docMk/>
          <pc:sldMk cId="1285873257" sldId="274"/>
        </pc:sldMkLst>
        <pc:spChg chg="mod">
          <ac:chgData name="Ettore Minelli" userId="7870a1ad-01cf-4239-8cce-750deae7f4ef" providerId="ADAL" clId="{7F983524-EBAA-4C85-82B0-1D8A51B3C262}" dt="2022-12-15T08:36:33.373" v="220" actId="20577"/>
          <ac:spMkLst>
            <pc:docMk/>
            <pc:sldMk cId="1285873257" sldId="274"/>
            <ac:spMk id="15" creationId="{2CF0CF0A-5EF8-4774-B838-8A27680D94FC}"/>
          </ac:spMkLst>
        </pc:spChg>
      </pc:sldChg>
      <pc:sldChg chg="modSp mod">
        <pc:chgData name="Ettore Minelli" userId="7870a1ad-01cf-4239-8cce-750deae7f4ef" providerId="ADAL" clId="{7F983524-EBAA-4C85-82B0-1D8A51B3C262}" dt="2022-12-15T08:40:01.137" v="334" actId="20577"/>
        <pc:sldMkLst>
          <pc:docMk/>
          <pc:sldMk cId="1766925690" sldId="275"/>
        </pc:sldMkLst>
        <pc:spChg chg="mod">
          <ac:chgData name="Ettore Minelli" userId="7870a1ad-01cf-4239-8cce-750deae7f4ef" providerId="ADAL" clId="{7F983524-EBAA-4C85-82B0-1D8A51B3C262}" dt="2022-12-15T08:40:01.137" v="334" actId="20577"/>
          <ac:spMkLst>
            <pc:docMk/>
            <pc:sldMk cId="1766925690" sldId="275"/>
            <ac:spMk id="15" creationId="{2CF0CF0A-5EF8-4774-B838-8A27680D94FC}"/>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e67495\Downloads\optimum%20portfolio%20-%20v5.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Ettore\Desktop\Tesi%20magistrale\Return%20vs%20risk\SBBI\ff.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people.ey.com/personal/ettore_minelli_parthenon_ey_com/Documents/Documents/Tesi/Presentazione/New%20Microsoft%20Excel%20Worksheet.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oleObject" Target="https://people.ey.com/personal/ettore_minelli_parthenon_ey_com/Documents/Documents/Tesi/Presentazione/New%20Microsoft%20Excel%20Worksheet.xlsx" TargetMode="Externa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0"/>
    <c:plotArea>
      <c:layout/>
      <c:scatterChart>
        <c:scatterStyle val="lineMarker"/>
        <c:varyColors val="0"/>
        <c:ser>
          <c:idx val="0"/>
          <c:order val="0"/>
          <c:tx>
            <c:strRef>
              <c:f>Sheet1!$M$26</c:f>
              <c:strCache>
                <c:ptCount val="1"/>
                <c:pt idx="0">
                  <c:v>10-Year US Bond Return</c:v>
                </c:pt>
              </c:strCache>
            </c:strRef>
          </c:tx>
          <c:spPr>
            <a:ln w="25400" cap="rnd">
              <a:noFill/>
              <a:round/>
            </a:ln>
            <a:effectLst/>
          </c:spPr>
          <c:marker>
            <c:symbol val="circle"/>
            <c:size val="5"/>
            <c:spPr>
              <a:solidFill>
                <a:schemeClr val="tx1"/>
              </a:solidFill>
              <a:ln w="9525">
                <a:solidFill>
                  <a:schemeClr val="dk1">
                    <a:tint val="88500"/>
                  </a:schemeClr>
                </a:solidFill>
              </a:ln>
              <a:effectLst/>
            </c:spPr>
          </c:marker>
          <c:dLbls>
            <c:dLbl>
              <c:idx val="0"/>
              <c:layout>
                <c:manualLayout>
                  <c:x val="-9.1392580306903656E-2"/>
                  <c:y val="1.1724198731411173E-2"/>
                </c:manualLayout>
              </c:layout>
              <c:tx>
                <c:rich>
                  <a:bodyPr/>
                  <a:lstStyle/>
                  <a:p>
                    <a:r>
                      <a:rPr lang="en-US" sz="900" b="0" i="0" u="none" strike="noStrike" baseline="0" dirty="0">
                        <a:effectLst/>
                      </a:rPr>
                      <a:t>10-Year US Bond</a:t>
                    </a:r>
                    <a:endParaRPr lang="en-US" dirty="0"/>
                  </a:p>
                </c:rich>
              </c:tx>
              <c:dLblPos val="r"/>
              <c:showLegendKey val="0"/>
              <c:showVal val="1"/>
              <c:showCatName val="0"/>
              <c:showSerName val="0"/>
              <c:showPercent val="0"/>
              <c:showBubbleSize val="0"/>
              <c:extLst>
                <c:ext xmlns:c15="http://schemas.microsoft.com/office/drawing/2012/chart" uri="{CE6537A1-D6FC-4f65-9D91-7224C49458BB}">
                  <c15:layout>
                    <c:manualLayout>
                      <c:w val="0.48420659452124271"/>
                      <c:h val="0.19951285528469392"/>
                    </c:manualLayout>
                  </c15:layout>
                  <c15:showDataLabelsRange val="0"/>
                </c:ext>
                <c:ext xmlns:c16="http://schemas.microsoft.com/office/drawing/2014/chart" uri="{C3380CC4-5D6E-409C-BE32-E72D297353CC}">
                  <c16:uniqueId val="{00000004-7A7F-456D-94B1-3C7579DBD42A}"/>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M$28</c:f>
              <c:numCache>
                <c:formatCode>0%</c:formatCode>
                <c:ptCount val="1"/>
                <c:pt idx="0">
                  <c:v>8.0696625273424302E-3</c:v>
                </c:pt>
              </c:numCache>
            </c:numRef>
          </c:xVal>
          <c:yVal>
            <c:numRef>
              <c:f>Sheet1!$M$27</c:f>
              <c:numCache>
                <c:formatCode>0%</c:formatCode>
                <c:ptCount val="1"/>
                <c:pt idx="0">
                  <c:v>5.1794464220403097E-3</c:v>
                </c:pt>
              </c:numCache>
            </c:numRef>
          </c:yVal>
          <c:smooth val="0"/>
          <c:extLst>
            <c:ext xmlns:c16="http://schemas.microsoft.com/office/drawing/2014/chart" uri="{C3380CC4-5D6E-409C-BE32-E72D297353CC}">
              <c16:uniqueId val="{00000000-7A7F-456D-94B1-3C7579DBD42A}"/>
            </c:ext>
          </c:extLst>
        </c:ser>
        <c:ser>
          <c:idx val="1"/>
          <c:order val="1"/>
          <c:tx>
            <c:strRef>
              <c:f>Sheet1!$N$26</c:f>
              <c:strCache>
                <c:ptCount val="1"/>
                <c:pt idx="0">
                  <c:v>S&amp;P 500 Return</c:v>
                </c:pt>
              </c:strCache>
            </c:strRef>
          </c:tx>
          <c:spPr>
            <a:ln w="25400" cap="rnd">
              <a:noFill/>
              <a:round/>
            </a:ln>
            <a:effectLst/>
          </c:spPr>
          <c:marker>
            <c:symbol val="circle"/>
            <c:size val="5"/>
            <c:spPr>
              <a:solidFill>
                <a:schemeClr val="bg1">
                  <a:lumMod val="85000"/>
                </a:schemeClr>
              </a:solidFill>
              <a:ln w="9525">
                <a:solidFill>
                  <a:schemeClr val="dk1">
                    <a:tint val="55000"/>
                  </a:schemeClr>
                </a:solidFill>
              </a:ln>
              <a:effectLst/>
            </c:spPr>
          </c:marker>
          <c:dLbls>
            <c:dLbl>
              <c:idx val="0"/>
              <c:layout>
                <c:manualLayout>
                  <c:x val="-0.17408110534648308"/>
                  <c:y val="1.1723967944640703E-2"/>
                </c:manualLayout>
              </c:layout>
              <c:tx>
                <c:rich>
                  <a:bodyPr/>
                  <a:lstStyle/>
                  <a:p>
                    <a:r>
                      <a:rPr lang="en-US" sz="900" b="0" i="0" u="none" strike="noStrike" baseline="0" dirty="0">
                        <a:effectLst/>
                      </a:rPr>
                      <a:t>S&amp;P 500</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A7F-456D-94B1-3C7579DBD42A}"/>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N$28</c:f>
              <c:numCache>
                <c:formatCode>0%</c:formatCode>
                <c:ptCount val="1"/>
                <c:pt idx="0">
                  <c:v>7.0335895768736265E-2</c:v>
                </c:pt>
              </c:numCache>
            </c:numRef>
          </c:xVal>
          <c:yVal>
            <c:numRef>
              <c:f>Sheet1!$N$27</c:f>
              <c:numCache>
                <c:formatCode>0%</c:formatCode>
                <c:ptCount val="1"/>
                <c:pt idx="0">
                  <c:v>3.6551482978773482E-2</c:v>
                </c:pt>
              </c:numCache>
            </c:numRef>
          </c:yVal>
          <c:smooth val="0"/>
          <c:extLst>
            <c:ext xmlns:c16="http://schemas.microsoft.com/office/drawing/2014/chart" uri="{C3380CC4-5D6E-409C-BE32-E72D297353CC}">
              <c16:uniqueId val="{00000001-7A7F-456D-94B1-3C7579DBD42A}"/>
            </c:ext>
          </c:extLst>
        </c:ser>
        <c:ser>
          <c:idx val="2"/>
          <c:order val="2"/>
          <c:tx>
            <c:strRef>
              <c:f>Sheet1!$O$26</c:f>
              <c:strCache>
                <c:ptCount val="1"/>
                <c:pt idx="0">
                  <c:v>De smoothed Case-Shiller House Index</c:v>
                </c:pt>
              </c:strCache>
            </c:strRef>
          </c:tx>
          <c:spPr>
            <a:ln w="19050" cap="rnd">
              <a:solidFill>
                <a:srgbClr val="002F56"/>
              </a:solidFill>
              <a:round/>
            </a:ln>
            <a:effectLst/>
          </c:spPr>
          <c:marker>
            <c:symbol val="circle"/>
            <c:size val="5"/>
            <c:spPr>
              <a:solidFill>
                <a:schemeClr val="tx1">
                  <a:lumMod val="50000"/>
                  <a:lumOff val="50000"/>
                </a:schemeClr>
              </a:solidFill>
              <a:ln w="9525">
                <a:noFill/>
              </a:ln>
              <a:effectLst/>
            </c:spPr>
          </c:marker>
          <c:dPt>
            <c:idx val="0"/>
            <c:marker>
              <c:symbol val="circle"/>
              <c:size val="5"/>
              <c:spPr>
                <a:solidFill>
                  <a:srgbClr val="002F56"/>
                </a:solidFill>
                <a:ln w="9525">
                  <a:noFill/>
                </a:ln>
                <a:effectLst/>
              </c:spPr>
            </c:marker>
            <c:bubble3D val="0"/>
            <c:extLst>
              <c:ext xmlns:c16="http://schemas.microsoft.com/office/drawing/2014/chart" uri="{C3380CC4-5D6E-409C-BE32-E72D297353CC}">
                <c16:uniqueId val="{00000003-7A7F-456D-94B1-3C7579DBD42A}"/>
              </c:ext>
            </c:extLst>
          </c:dPt>
          <c:dLbls>
            <c:dLbl>
              <c:idx val="0"/>
              <c:layout>
                <c:manualLayout>
                  <c:x val="-3.9168248702958694E-2"/>
                  <c:y val="1.1723967944640716E-2"/>
                </c:manualLayout>
              </c:layout>
              <c:tx>
                <c:rich>
                  <a:bodyPr/>
                  <a:lstStyle/>
                  <a:p>
                    <a:r>
                      <a:rPr lang="en-US" dirty="0"/>
                      <a:t>De-Smoothed Case-Shiller</a:t>
                    </a:r>
                    <a:r>
                      <a:rPr lang="en-US" baseline="0" dirty="0"/>
                      <a:t> Index</a:t>
                    </a:r>
                    <a:endParaRPr lang="en-US" dirty="0"/>
                  </a:p>
                </c:rich>
              </c:tx>
              <c:dLblPos val="r"/>
              <c:showLegendKey val="0"/>
              <c:showVal val="1"/>
              <c:showCatName val="0"/>
              <c:showSerName val="0"/>
              <c:showPercent val="0"/>
              <c:showBubbleSize val="0"/>
              <c:extLst>
                <c:ext xmlns:c15="http://schemas.microsoft.com/office/drawing/2012/chart" uri="{CE6537A1-D6FC-4f65-9D91-7224C49458BB}">
                  <c15:layout>
                    <c:manualLayout>
                      <c:w val="0.4417308048167008"/>
                      <c:h val="0.32079730367200215"/>
                    </c:manualLayout>
                  </c15:layout>
                  <c15:showDataLabelsRange val="0"/>
                </c:ext>
                <c:ext xmlns:c16="http://schemas.microsoft.com/office/drawing/2014/chart" uri="{C3380CC4-5D6E-409C-BE32-E72D297353CC}">
                  <c16:uniqueId val="{00000003-7A7F-456D-94B1-3C7579DBD42A}"/>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O$28</c:f>
              <c:numCache>
                <c:formatCode>0%</c:formatCode>
                <c:ptCount val="1"/>
                <c:pt idx="0">
                  <c:v>3.1075189558401356E-2</c:v>
                </c:pt>
              </c:numCache>
            </c:numRef>
          </c:xVal>
          <c:yVal>
            <c:numRef>
              <c:f>Sheet1!$O$27</c:f>
              <c:numCache>
                <c:formatCode>0%</c:formatCode>
                <c:ptCount val="1"/>
                <c:pt idx="0">
                  <c:v>2.0417949218814364E-2</c:v>
                </c:pt>
              </c:numCache>
            </c:numRef>
          </c:yVal>
          <c:smooth val="0"/>
          <c:extLst>
            <c:ext xmlns:c16="http://schemas.microsoft.com/office/drawing/2014/chart" uri="{C3380CC4-5D6E-409C-BE32-E72D297353CC}">
              <c16:uniqueId val="{00000002-7A7F-456D-94B1-3C7579DBD42A}"/>
            </c:ext>
          </c:extLst>
        </c:ser>
        <c:dLbls>
          <c:dLblPos val="r"/>
          <c:showLegendKey val="0"/>
          <c:showVal val="1"/>
          <c:showCatName val="0"/>
          <c:showSerName val="0"/>
          <c:showPercent val="0"/>
          <c:showBubbleSize val="0"/>
        </c:dLbls>
        <c:axId val="632094704"/>
        <c:axId val="632095688"/>
      </c:scatterChart>
      <c:valAx>
        <c:axId val="63209470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solidFill>
                    <a:latin typeface="Times New Roman" panose="02020603050405020304" pitchFamily="18" charset="0"/>
                    <a:ea typeface="+mn-ea"/>
                    <a:cs typeface="Times New Roman" panose="02020603050405020304" pitchFamily="18" charset="0"/>
                  </a:defRPr>
                </a:pPr>
                <a:r>
                  <a:rPr lang="en-US"/>
                  <a:t>Volatilità</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crossAx val="632095688"/>
        <c:crosses val="autoZero"/>
        <c:crossBetween val="midCat"/>
      </c:valAx>
      <c:valAx>
        <c:axId val="632095688"/>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Times New Roman" panose="02020603050405020304" pitchFamily="18" charset="0"/>
                    <a:ea typeface="+mn-ea"/>
                    <a:cs typeface="Times New Roman" panose="02020603050405020304" pitchFamily="18" charset="0"/>
                  </a:defRPr>
                </a:pPr>
                <a:r>
                  <a:rPr lang="en-US"/>
                  <a:t>Rendimento</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crossAx val="632094704"/>
        <c:crosses val="autoZero"/>
        <c:crossBetween val="midCat"/>
      </c:valAx>
      <c:spPr>
        <a:noFill/>
        <a:ln>
          <a:noFill/>
        </a:ln>
        <a:effectLst/>
      </c:spPr>
    </c:plotArea>
    <c:plotVisOnly val="1"/>
    <c:dispBlanksAs val="gap"/>
    <c:showDLblsOverMax val="0"/>
  </c:chart>
  <c:spPr>
    <a:noFill/>
    <a:ln>
      <a:noFill/>
    </a:ln>
    <a:effectLst/>
  </c:spPr>
  <c:txPr>
    <a:bodyPr/>
    <a:lstStyle/>
    <a:p>
      <a:pPr>
        <a:defRPr>
          <a:solidFill>
            <a:schemeClr val="tx1"/>
          </a:solidFill>
          <a:latin typeface="Times New Roman" panose="02020603050405020304" pitchFamily="18" charset="0"/>
          <a:cs typeface="Times New Roman" panose="02020603050405020304" pitchFamily="18" charset="0"/>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13741719263266788"/>
          <c:y val="6.3185451334990539E-2"/>
          <c:w val="0.80792564121424204"/>
          <c:h val="0.63977417872482079"/>
        </c:manualLayout>
      </c:layout>
      <c:lineChart>
        <c:grouping val="standard"/>
        <c:varyColors val="0"/>
        <c:ser>
          <c:idx val="0"/>
          <c:order val="0"/>
          <c:tx>
            <c:strRef>
              <c:f>GOTH!$B$1</c:f>
              <c:strCache>
                <c:ptCount val="1"/>
                <c:pt idx="0">
                  <c:v>S&amp;P 500</c:v>
                </c:pt>
              </c:strCache>
            </c:strRef>
          </c:tx>
          <c:spPr>
            <a:ln w="28575" cap="rnd">
              <a:solidFill>
                <a:schemeClr val="bg1">
                  <a:lumMod val="85000"/>
                </a:schemeClr>
              </a:solidFill>
              <a:round/>
            </a:ln>
            <a:effectLst/>
          </c:spPr>
          <c:marker>
            <c:symbol val="none"/>
          </c:marker>
          <c:cat>
            <c:numRef>
              <c:f>GOTH!$A$2:$A$604</c:f>
              <c:numCache>
                <c:formatCode>m/d/yyyy</c:formatCode>
                <c:ptCount val="603"/>
                <c:pt idx="0">
                  <c:v>44593</c:v>
                </c:pt>
                <c:pt idx="1">
                  <c:v>44562</c:v>
                </c:pt>
                <c:pt idx="2">
                  <c:v>44531</c:v>
                </c:pt>
                <c:pt idx="3">
                  <c:v>44501</c:v>
                </c:pt>
                <c:pt idx="4">
                  <c:v>44470</c:v>
                </c:pt>
                <c:pt idx="5">
                  <c:v>44440</c:v>
                </c:pt>
                <c:pt idx="6">
                  <c:v>44409</c:v>
                </c:pt>
                <c:pt idx="7">
                  <c:v>44378</c:v>
                </c:pt>
                <c:pt idx="8">
                  <c:v>44348</c:v>
                </c:pt>
                <c:pt idx="9">
                  <c:v>44317</c:v>
                </c:pt>
                <c:pt idx="10">
                  <c:v>44287</c:v>
                </c:pt>
                <c:pt idx="11">
                  <c:v>44256</c:v>
                </c:pt>
                <c:pt idx="12">
                  <c:v>44228</c:v>
                </c:pt>
                <c:pt idx="13">
                  <c:v>44197</c:v>
                </c:pt>
                <c:pt idx="14">
                  <c:v>44166</c:v>
                </c:pt>
                <c:pt idx="15">
                  <c:v>44136</c:v>
                </c:pt>
                <c:pt idx="16">
                  <c:v>44105</c:v>
                </c:pt>
                <c:pt idx="17">
                  <c:v>44075</c:v>
                </c:pt>
                <c:pt idx="18">
                  <c:v>44044</c:v>
                </c:pt>
                <c:pt idx="19">
                  <c:v>44013</c:v>
                </c:pt>
                <c:pt idx="20">
                  <c:v>43983</c:v>
                </c:pt>
                <c:pt idx="21">
                  <c:v>43952</c:v>
                </c:pt>
                <c:pt idx="22">
                  <c:v>43922</c:v>
                </c:pt>
                <c:pt idx="23">
                  <c:v>43891</c:v>
                </c:pt>
                <c:pt idx="24">
                  <c:v>43862</c:v>
                </c:pt>
                <c:pt idx="25">
                  <c:v>43831</c:v>
                </c:pt>
                <c:pt idx="26">
                  <c:v>43800</c:v>
                </c:pt>
                <c:pt idx="27">
                  <c:v>43770</c:v>
                </c:pt>
                <c:pt idx="28">
                  <c:v>43739</c:v>
                </c:pt>
                <c:pt idx="29">
                  <c:v>43709</c:v>
                </c:pt>
                <c:pt idx="30">
                  <c:v>43678</c:v>
                </c:pt>
                <c:pt idx="31">
                  <c:v>43647</c:v>
                </c:pt>
                <c:pt idx="32">
                  <c:v>43617</c:v>
                </c:pt>
                <c:pt idx="33">
                  <c:v>43586</c:v>
                </c:pt>
                <c:pt idx="34">
                  <c:v>43556</c:v>
                </c:pt>
                <c:pt idx="35">
                  <c:v>43525</c:v>
                </c:pt>
                <c:pt idx="36">
                  <c:v>43497</c:v>
                </c:pt>
                <c:pt idx="37">
                  <c:v>43466</c:v>
                </c:pt>
                <c:pt idx="38">
                  <c:v>43435</c:v>
                </c:pt>
                <c:pt idx="39">
                  <c:v>43405</c:v>
                </c:pt>
                <c:pt idx="40">
                  <c:v>43374</c:v>
                </c:pt>
                <c:pt idx="41">
                  <c:v>43344</c:v>
                </c:pt>
                <c:pt idx="42">
                  <c:v>43313</c:v>
                </c:pt>
                <c:pt idx="43">
                  <c:v>43282</c:v>
                </c:pt>
                <c:pt idx="44">
                  <c:v>43252</c:v>
                </c:pt>
                <c:pt idx="45">
                  <c:v>43221</c:v>
                </c:pt>
                <c:pt idx="46">
                  <c:v>43191</c:v>
                </c:pt>
                <c:pt idx="47">
                  <c:v>43160</c:v>
                </c:pt>
                <c:pt idx="48">
                  <c:v>43132</c:v>
                </c:pt>
                <c:pt idx="49">
                  <c:v>43101</c:v>
                </c:pt>
                <c:pt idx="50">
                  <c:v>43070</c:v>
                </c:pt>
                <c:pt idx="51">
                  <c:v>43040</c:v>
                </c:pt>
                <c:pt idx="52">
                  <c:v>43009</c:v>
                </c:pt>
                <c:pt idx="53">
                  <c:v>42979</c:v>
                </c:pt>
                <c:pt idx="54">
                  <c:v>42948</c:v>
                </c:pt>
                <c:pt idx="55">
                  <c:v>42917</c:v>
                </c:pt>
                <c:pt idx="56">
                  <c:v>42887</c:v>
                </c:pt>
                <c:pt idx="57">
                  <c:v>42856</c:v>
                </c:pt>
                <c:pt idx="58">
                  <c:v>42826</c:v>
                </c:pt>
                <c:pt idx="59">
                  <c:v>42795</c:v>
                </c:pt>
                <c:pt idx="60">
                  <c:v>42767</c:v>
                </c:pt>
                <c:pt idx="61">
                  <c:v>42736</c:v>
                </c:pt>
                <c:pt idx="62">
                  <c:v>42705</c:v>
                </c:pt>
                <c:pt idx="63">
                  <c:v>42675</c:v>
                </c:pt>
                <c:pt idx="64">
                  <c:v>42644</c:v>
                </c:pt>
                <c:pt idx="65">
                  <c:v>42614</c:v>
                </c:pt>
                <c:pt idx="66">
                  <c:v>42583</c:v>
                </c:pt>
                <c:pt idx="67">
                  <c:v>42552</c:v>
                </c:pt>
                <c:pt idx="68">
                  <c:v>42522</c:v>
                </c:pt>
                <c:pt idx="69">
                  <c:v>42491</c:v>
                </c:pt>
                <c:pt idx="70">
                  <c:v>42461</c:v>
                </c:pt>
                <c:pt idx="71">
                  <c:v>42430</c:v>
                </c:pt>
                <c:pt idx="72">
                  <c:v>42401</c:v>
                </c:pt>
                <c:pt idx="73">
                  <c:v>42370</c:v>
                </c:pt>
                <c:pt idx="74">
                  <c:v>42339</c:v>
                </c:pt>
                <c:pt idx="75">
                  <c:v>42309</c:v>
                </c:pt>
                <c:pt idx="76">
                  <c:v>42278</c:v>
                </c:pt>
                <c:pt idx="77">
                  <c:v>42248</c:v>
                </c:pt>
                <c:pt idx="78">
                  <c:v>42217</c:v>
                </c:pt>
                <c:pt idx="79">
                  <c:v>42186</c:v>
                </c:pt>
                <c:pt idx="80">
                  <c:v>42156</c:v>
                </c:pt>
                <c:pt idx="81">
                  <c:v>42125</c:v>
                </c:pt>
                <c:pt idx="82">
                  <c:v>42095</c:v>
                </c:pt>
                <c:pt idx="83">
                  <c:v>42064</c:v>
                </c:pt>
                <c:pt idx="84">
                  <c:v>42036</c:v>
                </c:pt>
                <c:pt idx="85">
                  <c:v>42005</c:v>
                </c:pt>
                <c:pt idx="86">
                  <c:v>41974</c:v>
                </c:pt>
                <c:pt idx="87">
                  <c:v>41944</c:v>
                </c:pt>
                <c:pt idx="88">
                  <c:v>41913</c:v>
                </c:pt>
                <c:pt idx="89">
                  <c:v>41883</c:v>
                </c:pt>
                <c:pt idx="90">
                  <c:v>41852</c:v>
                </c:pt>
                <c:pt idx="91">
                  <c:v>41821</c:v>
                </c:pt>
                <c:pt idx="92">
                  <c:v>41791</c:v>
                </c:pt>
                <c:pt idx="93">
                  <c:v>41760</c:v>
                </c:pt>
                <c:pt idx="94">
                  <c:v>41730</c:v>
                </c:pt>
                <c:pt idx="95">
                  <c:v>41699</c:v>
                </c:pt>
                <c:pt idx="96">
                  <c:v>41671</c:v>
                </c:pt>
                <c:pt idx="97">
                  <c:v>41640</c:v>
                </c:pt>
                <c:pt idx="98">
                  <c:v>41609</c:v>
                </c:pt>
                <c:pt idx="99">
                  <c:v>41579</c:v>
                </c:pt>
                <c:pt idx="100">
                  <c:v>41548</c:v>
                </c:pt>
                <c:pt idx="101">
                  <c:v>41518</c:v>
                </c:pt>
                <c:pt idx="102">
                  <c:v>41487</c:v>
                </c:pt>
                <c:pt idx="103">
                  <c:v>41456</c:v>
                </c:pt>
                <c:pt idx="104">
                  <c:v>41426</c:v>
                </c:pt>
                <c:pt idx="105">
                  <c:v>41395</c:v>
                </c:pt>
                <c:pt idx="106">
                  <c:v>41365</c:v>
                </c:pt>
                <c:pt idx="107">
                  <c:v>41334</c:v>
                </c:pt>
                <c:pt idx="108">
                  <c:v>41306</c:v>
                </c:pt>
                <c:pt idx="109">
                  <c:v>41275</c:v>
                </c:pt>
                <c:pt idx="110">
                  <c:v>41244</c:v>
                </c:pt>
                <c:pt idx="111">
                  <c:v>41214</c:v>
                </c:pt>
                <c:pt idx="112">
                  <c:v>41183</c:v>
                </c:pt>
                <c:pt idx="113">
                  <c:v>41153</c:v>
                </c:pt>
                <c:pt idx="114">
                  <c:v>41122</c:v>
                </c:pt>
                <c:pt idx="115">
                  <c:v>41091</c:v>
                </c:pt>
                <c:pt idx="116">
                  <c:v>41061</c:v>
                </c:pt>
                <c:pt idx="117">
                  <c:v>41030</c:v>
                </c:pt>
                <c:pt idx="118">
                  <c:v>41000</c:v>
                </c:pt>
                <c:pt idx="119">
                  <c:v>40969</c:v>
                </c:pt>
                <c:pt idx="120">
                  <c:v>40940</c:v>
                </c:pt>
                <c:pt idx="121">
                  <c:v>40909</c:v>
                </c:pt>
                <c:pt idx="122">
                  <c:v>40878</c:v>
                </c:pt>
                <c:pt idx="123">
                  <c:v>40848</c:v>
                </c:pt>
                <c:pt idx="124">
                  <c:v>40817</c:v>
                </c:pt>
                <c:pt idx="125">
                  <c:v>40787</c:v>
                </c:pt>
                <c:pt idx="126">
                  <c:v>40756</c:v>
                </c:pt>
                <c:pt idx="127">
                  <c:v>40725</c:v>
                </c:pt>
                <c:pt idx="128">
                  <c:v>40695</c:v>
                </c:pt>
                <c:pt idx="129">
                  <c:v>40664</c:v>
                </c:pt>
                <c:pt idx="130">
                  <c:v>40634</c:v>
                </c:pt>
                <c:pt idx="131">
                  <c:v>40603</c:v>
                </c:pt>
                <c:pt idx="132">
                  <c:v>40575</c:v>
                </c:pt>
                <c:pt idx="133">
                  <c:v>40544</c:v>
                </c:pt>
                <c:pt idx="134">
                  <c:v>40513</c:v>
                </c:pt>
                <c:pt idx="135">
                  <c:v>40483</c:v>
                </c:pt>
                <c:pt idx="136">
                  <c:v>40452</c:v>
                </c:pt>
                <c:pt idx="137">
                  <c:v>40422</c:v>
                </c:pt>
                <c:pt idx="138">
                  <c:v>40391</c:v>
                </c:pt>
                <c:pt idx="139">
                  <c:v>40360</c:v>
                </c:pt>
                <c:pt idx="140">
                  <c:v>40330</c:v>
                </c:pt>
                <c:pt idx="141">
                  <c:v>40299</c:v>
                </c:pt>
                <c:pt idx="142">
                  <c:v>40269</c:v>
                </c:pt>
                <c:pt idx="143">
                  <c:v>40238</c:v>
                </c:pt>
                <c:pt idx="144">
                  <c:v>40210</c:v>
                </c:pt>
                <c:pt idx="145">
                  <c:v>40179</c:v>
                </c:pt>
                <c:pt idx="146">
                  <c:v>40148</c:v>
                </c:pt>
                <c:pt idx="147">
                  <c:v>40118</c:v>
                </c:pt>
                <c:pt idx="148">
                  <c:v>40087</c:v>
                </c:pt>
                <c:pt idx="149">
                  <c:v>40057</c:v>
                </c:pt>
                <c:pt idx="150">
                  <c:v>40026</c:v>
                </c:pt>
                <c:pt idx="151">
                  <c:v>39995</c:v>
                </c:pt>
                <c:pt idx="152">
                  <c:v>39965</c:v>
                </c:pt>
                <c:pt idx="153">
                  <c:v>39934</c:v>
                </c:pt>
                <c:pt idx="154">
                  <c:v>39904</c:v>
                </c:pt>
                <c:pt idx="155">
                  <c:v>39873</c:v>
                </c:pt>
                <c:pt idx="156">
                  <c:v>39845</c:v>
                </c:pt>
                <c:pt idx="157">
                  <c:v>39814</c:v>
                </c:pt>
                <c:pt idx="158">
                  <c:v>39783</c:v>
                </c:pt>
                <c:pt idx="159">
                  <c:v>39753</c:v>
                </c:pt>
                <c:pt idx="160">
                  <c:v>39722</c:v>
                </c:pt>
                <c:pt idx="161">
                  <c:v>39692</c:v>
                </c:pt>
                <c:pt idx="162">
                  <c:v>39661</c:v>
                </c:pt>
                <c:pt idx="163">
                  <c:v>39630</c:v>
                </c:pt>
                <c:pt idx="164">
                  <c:v>39600</c:v>
                </c:pt>
                <c:pt idx="165">
                  <c:v>39569</c:v>
                </c:pt>
                <c:pt idx="166">
                  <c:v>39539</c:v>
                </c:pt>
                <c:pt idx="167">
                  <c:v>39508</c:v>
                </c:pt>
                <c:pt idx="168">
                  <c:v>39479</c:v>
                </c:pt>
                <c:pt idx="169">
                  <c:v>39448</c:v>
                </c:pt>
                <c:pt idx="170">
                  <c:v>39417</c:v>
                </c:pt>
                <c:pt idx="171">
                  <c:v>39387</c:v>
                </c:pt>
                <c:pt idx="172">
                  <c:v>39356</c:v>
                </c:pt>
                <c:pt idx="173">
                  <c:v>39326</c:v>
                </c:pt>
                <c:pt idx="174">
                  <c:v>39295</c:v>
                </c:pt>
                <c:pt idx="175">
                  <c:v>39264</c:v>
                </c:pt>
                <c:pt idx="176">
                  <c:v>39234</c:v>
                </c:pt>
                <c:pt idx="177">
                  <c:v>39203</c:v>
                </c:pt>
                <c:pt idx="178">
                  <c:v>39173</c:v>
                </c:pt>
                <c:pt idx="179">
                  <c:v>39142</c:v>
                </c:pt>
                <c:pt idx="180">
                  <c:v>39114</c:v>
                </c:pt>
                <c:pt idx="181">
                  <c:v>39083</c:v>
                </c:pt>
                <c:pt idx="182">
                  <c:v>39052</c:v>
                </c:pt>
                <c:pt idx="183">
                  <c:v>39022</c:v>
                </c:pt>
                <c:pt idx="184">
                  <c:v>38991</c:v>
                </c:pt>
                <c:pt idx="185">
                  <c:v>38961</c:v>
                </c:pt>
                <c:pt idx="186">
                  <c:v>38930</c:v>
                </c:pt>
                <c:pt idx="187">
                  <c:v>38899</c:v>
                </c:pt>
                <c:pt idx="188">
                  <c:v>38869</c:v>
                </c:pt>
                <c:pt idx="189">
                  <c:v>38838</c:v>
                </c:pt>
                <c:pt idx="190">
                  <c:v>38808</c:v>
                </c:pt>
                <c:pt idx="191">
                  <c:v>38777</c:v>
                </c:pt>
                <c:pt idx="192">
                  <c:v>38749</c:v>
                </c:pt>
                <c:pt idx="193">
                  <c:v>38718</c:v>
                </c:pt>
                <c:pt idx="194">
                  <c:v>38687</c:v>
                </c:pt>
                <c:pt idx="195">
                  <c:v>38657</c:v>
                </c:pt>
                <c:pt idx="196">
                  <c:v>38626</c:v>
                </c:pt>
                <c:pt idx="197">
                  <c:v>38596</c:v>
                </c:pt>
                <c:pt idx="198">
                  <c:v>38565</c:v>
                </c:pt>
                <c:pt idx="199">
                  <c:v>38534</c:v>
                </c:pt>
                <c:pt idx="200">
                  <c:v>38504</c:v>
                </c:pt>
                <c:pt idx="201">
                  <c:v>38473</c:v>
                </c:pt>
                <c:pt idx="202">
                  <c:v>38443</c:v>
                </c:pt>
                <c:pt idx="203">
                  <c:v>38412</c:v>
                </c:pt>
                <c:pt idx="204">
                  <c:v>38384</c:v>
                </c:pt>
                <c:pt idx="205">
                  <c:v>38353</c:v>
                </c:pt>
                <c:pt idx="206">
                  <c:v>38322</c:v>
                </c:pt>
                <c:pt idx="207">
                  <c:v>38292</c:v>
                </c:pt>
                <c:pt idx="208">
                  <c:v>38261</c:v>
                </c:pt>
                <c:pt idx="209">
                  <c:v>38231</c:v>
                </c:pt>
                <c:pt idx="210">
                  <c:v>38200</c:v>
                </c:pt>
                <c:pt idx="211">
                  <c:v>38169</c:v>
                </c:pt>
                <c:pt idx="212">
                  <c:v>38139</c:v>
                </c:pt>
                <c:pt idx="213">
                  <c:v>38108</c:v>
                </c:pt>
                <c:pt idx="214">
                  <c:v>38078</c:v>
                </c:pt>
                <c:pt idx="215">
                  <c:v>38047</c:v>
                </c:pt>
                <c:pt idx="216">
                  <c:v>38018</c:v>
                </c:pt>
                <c:pt idx="217">
                  <c:v>37987</c:v>
                </c:pt>
                <c:pt idx="218">
                  <c:v>37956</c:v>
                </c:pt>
                <c:pt idx="219">
                  <c:v>37926</c:v>
                </c:pt>
                <c:pt idx="220">
                  <c:v>37895</c:v>
                </c:pt>
                <c:pt idx="221">
                  <c:v>37865</c:v>
                </c:pt>
                <c:pt idx="222">
                  <c:v>37834</c:v>
                </c:pt>
                <c:pt idx="223">
                  <c:v>37803</c:v>
                </c:pt>
                <c:pt idx="224">
                  <c:v>37773</c:v>
                </c:pt>
                <c:pt idx="225">
                  <c:v>37742</c:v>
                </c:pt>
                <c:pt idx="226">
                  <c:v>37712</c:v>
                </c:pt>
                <c:pt idx="227">
                  <c:v>37681</c:v>
                </c:pt>
                <c:pt idx="228">
                  <c:v>37653</c:v>
                </c:pt>
                <c:pt idx="229">
                  <c:v>37622</c:v>
                </c:pt>
                <c:pt idx="230">
                  <c:v>37591</c:v>
                </c:pt>
                <c:pt idx="231">
                  <c:v>37561</c:v>
                </c:pt>
                <c:pt idx="232">
                  <c:v>37530</c:v>
                </c:pt>
                <c:pt idx="233">
                  <c:v>37500</c:v>
                </c:pt>
                <c:pt idx="234">
                  <c:v>37469</c:v>
                </c:pt>
                <c:pt idx="235">
                  <c:v>37438</c:v>
                </c:pt>
                <c:pt idx="236">
                  <c:v>37408</c:v>
                </c:pt>
                <c:pt idx="237">
                  <c:v>37377</c:v>
                </c:pt>
                <c:pt idx="238">
                  <c:v>37347</c:v>
                </c:pt>
                <c:pt idx="239">
                  <c:v>37316</c:v>
                </c:pt>
                <c:pt idx="240">
                  <c:v>37288</c:v>
                </c:pt>
                <c:pt idx="241">
                  <c:v>37257</c:v>
                </c:pt>
                <c:pt idx="242">
                  <c:v>37226</c:v>
                </c:pt>
                <c:pt idx="243">
                  <c:v>37196</c:v>
                </c:pt>
                <c:pt idx="244">
                  <c:v>37165</c:v>
                </c:pt>
                <c:pt idx="245">
                  <c:v>37135</c:v>
                </c:pt>
                <c:pt idx="246">
                  <c:v>37104</c:v>
                </c:pt>
                <c:pt idx="247">
                  <c:v>37073</c:v>
                </c:pt>
                <c:pt idx="248">
                  <c:v>37043</c:v>
                </c:pt>
                <c:pt idx="249">
                  <c:v>37012</c:v>
                </c:pt>
                <c:pt idx="250">
                  <c:v>36982</c:v>
                </c:pt>
                <c:pt idx="251">
                  <c:v>36951</c:v>
                </c:pt>
                <c:pt idx="252">
                  <c:v>36923</c:v>
                </c:pt>
                <c:pt idx="253">
                  <c:v>36892</c:v>
                </c:pt>
                <c:pt idx="254">
                  <c:v>36861</c:v>
                </c:pt>
                <c:pt idx="255">
                  <c:v>36831</c:v>
                </c:pt>
                <c:pt idx="256">
                  <c:v>36800</c:v>
                </c:pt>
                <c:pt idx="257">
                  <c:v>36770</c:v>
                </c:pt>
                <c:pt idx="258">
                  <c:v>36739</c:v>
                </c:pt>
                <c:pt idx="259">
                  <c:v>36708</c:v>
                </c:pt>
                <c:pt idx="260">
                  <c:v>36678</c:v>
                </c:pt>
                <c:pt idx="261">
                  <c:v>36647</c:v>
                </c:pt>
                <c:pt idx="262">
                  <c:v>36617</c:v>
                </c:pt>
                <c:pt idx="263">
                  <c:v>36586</c:v>
                </c:pt>
                <c:pt idx="264">
                  <c:v>36557</c:v>
                </c:pt>
                <c:pt idx="265">
                  <c:v>36526</c:v>
                </c:pt>
                <c:pt idx="266">
                  <c:v>36495</c:v>
                </c:pt>
                <c:pt idx="267">
                  <c:v>36465</c:v>
                </c:pt>
                <c:pt idx="268">
                  <c:v>36434</c:v>
                </c:pt>
                <c:pt idx="269">
                  <c:v>36404</c:v>
                </c:pt>
                <c:pt idx="270">
                  <c:v>36373</c:v>
                </c:pt>
                <c:pt idx="271">
                  <c:v>36342</c:v>
                </c:pt>
                <c:pt idx="272">
                  <c:v>36312</c:v>
                </c:pt>
                <c:pt idx="273">
                  <c:v>36281</c:v>
                </c:pt>
                <c:pt idx="274">
                  <c:v>36251</c:v>
                </c:pt>
                <c:pt idx="275">
                  <c:v>36220</c:v>
                </c:pt>
                <c:pt idx="276">
                  <c:v>36192</c:v>
                </c:pt>
                <c:pt idx="277">
                  <c:v>36161</c:v>
                </c:pt>
                <c:pt idx="278">
                  <c:v>36130</c:v>
                </c:pt>
                <c:pt idx="279">
                  <c:v>36100</c:v>
                </c:pt>
                <c:pt idx="280">
                  <c:v>36069</c:v>
                </c:pt>
                <c:pt idx="281">
                  <c:v>36039</c:v>
                </c:pt>
                <c:pt idx="282">
                  <c:v>36008</c:v>
                </c:pt>
                <c:pt idx="283">
                  <c:v>35977</c:v>
                </c:pt>
                <c:pt idx="284">
                  <c:v>35947</c:v>
                </c:pt>
                <c:pt idx="285">
                  <c:v>35916</c:v>
                </c:pt>
                <c:pt idx="286">
                  <c:v>35886</c:v>
                </c:pt>
                <c:pt idx="287">
                  <c:v>35855</c:v>
                </c:pt>
                <c:pt idx="288">
                  <c:v>35827</c:v>
                </c:pt>
                <c:pt idx="289">
                  <c:v>35796</c:v>
                </c:pt>
                <c:pt idx="290">
                  <c:v>35765</c:v>
                </c:pt>
                <c:pt idx="291">
                  <c:v>35735</c:v>
                </c:pt>
                <c:pt idx="292">
                  <c:v>35704</c:v>
                </c:pt>
                <c:pt idx="293">
                  <c:v>35674</c:v>
                </c:pt>
                <c:pt idx="294">
                  <c:v>35643</c:v>
                </c:pt>
                <c:pt idx="295">
                  <c:v>35612</c:v>
                </c:pt>
                <c:pt idx="296">
                  <c:v>35582</c:v>
                </c:pt>
                <c:pt idx="297">
                  <c:v>35551</c:v>
                </c:pt>
                <c:pt idx="298">
                  <c:v>35521</c:v>
                </c:pt>
                <c:pt idx="299">
                  <c:v>35490</c:v>
                </c:pt>
                <c:pt idx="300">
                  <c:v>35462</c:v>
                </c:pt>
                <c:pt idx="301">
                  <c:v>35431</c:v>
                </c:pt>
                <c:pt idx="302">
                  <c:v>35400</c:v>
                </c:pt>
                <c:pt idx="303">
                  <c:v>35370</c:v>
                </c:pt>
                <c:pt idx="304">
                  <c:v>35339</c:v>
                </c:pt>
                <c:pt idx="305">
                  <c:v>35309</c:v>
                </c:pt>
                <c:pt idx="306">
                  <c:v>35278</c:v>
                </c:pt>
                <c:pt idx="307">
                  <c:v>35247</c:v>
                </c:pt>
                <c:pt idx="308">
                  <c:v>35217</c:v>
                </c:pt>
                <c:pt idx="309">
                  <c:v>35186</c:v>
                </c:pt>
                <c:pt idx="310">
                  <c:v>35156</c:v>
                </c:pt>
                <c:pt idx="311">
                  <c:v>35125</c:v>
                </c:pt>
                <c:pt idx="312">
                  <c:v>35096</c:v>
                </c:pt>
                <c:pt idx="313">
                  <c:v>35065</c:v>
                </c:pt>
                <c:pt idx="314">
                  <c:v>35034</c:v>
                </c:pt>
                <c:pt idx="315">
                  <c:v>35004</c:v>
                </c:pt>
                <c:pt idx="316">
                  <c:v>34973</c:v>
                </c:pt>
                <c:pt idx="317">
                  <c:v>34943</c:v>
                </c:pt>
                <c:pt idx="318">
                  <c:v>34912</c:v>
                </c:pt>
                <c:pt idx="319">
                  <c:v>34881</c:v>
                </c:pt>
                <c:pt idx="320">
                  <c:v>34851</c:v>
                </c:pt>
                <c:pt idx="321">
                  <c:v>34820</c:v>
                </c:pt>
                <c:pt idx="322">
                  <c:v>34790</c:v>
                </c:pt>
                <c:pt idx="323">
                  <c:v>34759</c:v>
                </c:pt>
                <c:pt idx="324">
                  <c:v>34731</c:v>
                </c:pt>
                <c:pt idx="325">
                  <c:v>34700</c:v>
                </c:pt>
                <c:pt idx="326">
                  <c:v>34669</c:v>
                </c:pt>
                <c:pt idx="327">
                  <c:v>34639</c:v>
                </c:pt>
                <c:pt idx="328">
                  <c:v>34608</c:v>
                </c:pt>
                <c:pt idx="329">
                  <c:v>34578</c:v>
                </c:pt>
                <c:pt idx="330">
                  <c:v>34547</c:v>
                </c:pt>
                <c:pt idx="331">
                  <c:v>34516</c:v>
                </c:pt>
                <c:pt idx="332">
                  <c:v>34486</c:v>
                </c:pt>
                <c:pt idx="333">
                  <c:v>34455</c:v>
                </c:pt>
                <c:pt idx="334">
                  <c:v>34425</c:v>
                </c:pt>
                <c:pt idx="335">
                  <c:v>34394</c:v>
                </c:pt>
                <c:pt idx="336">
                  <c:v>34366</c:v>
                </c:pt>
                <c:pt idx="337">
                  <c:v>34335</c:v>
                </c:pt>
                <c:pt idx="338">
                  <c:v>34304</c:v>
                </c:pt>
                <c:pt idx="339">
                  <c:v>34274</c:v>
                </c:pt>
                <c:pt idx="340">
                  <c:v>34243</c:v>
                </c:pt>
                <c:pt idx="341">
                  <c:v>34213</c:v>
                </c:pt>
                <c:pt idx="342">
                  <c:v>34182</c:v>
                </c:pt>
                <c:pt idx="343">
                  <c:v>34151</c:v>
                </c:pt>
                <c:pt idx="344">
                  <c:v>34121</c:v>
                </c:pt>
                <c:pt idx="345">
                  <c:v>34090</c:v>
                </c:pt>
                <c:pt idx="346">
                  <c:v>34060</c:v>
                </c:pt>
                <c:pt idx="347">
                  <c:v>34029</c:v>
                </c:pt>
                <c:pt idx="348">
                  <c:v>34001</c:v>
                </c:pt>
                <c:pt idx="349">
                  <c:v>33970</c:v>
                </c:pt>
                <c:pt idx="350">
                  <c:v>33939</c:v>
                </c:pt>
                <c:pt idx="351">
                  <c:v>33909</c:v>
                </c:pt>
                <c:pt idx="352">
                  <c:v>33878</c:v>
                </c:pt>
                <c:pt idx="353">
                  <c:v>33848</c:v>
                </c:pt>
                <c:pt idx="354">
                  <c:v>33817</c:v>
                </c:pt>
                <c:pt idx="355">
                  <c:v>33786</c:v>
                </c:pt>
                <c:pt idx="356">
                  <c:v>33756</c:v>
                </c:pt>
                <c:pt idx="357">
                  <c:v>33725</c:v>
                </c:pt>
                <c:pt idx="358">
                  <c:v>33695</c:v>
                </c:pt>
                <c:pt idx="359">
                  <c:v>33664</c:v>
                </c:pt>
                <c:pt idx="360">
                  <c:v>33635</c:v>
                </c:pt>
                <c:pt idx="361">
                  <c:v>33604</c:v>
                </c:pt>
                <c:pt idx="362">
                  <c:v>33573</c:v>
                </c:pt>
                <c:pt idx="363">
                  <c:v>33543</c:v>
                </c:pt>
                <c:pt idx="364">
                  <c:v>33512</c:v>
                </c:pt>
                <c:pt idx="365">
                  <c:v>33482</c:v>
                </c:pt>
                <c:pt idx="366">
                  <c:v>33451</c:v>
                </c:pt>
                <c:pt idx="367">
                  <c:v>33420</c:v>
                </c:pt>
                <c:pt idx="368">
                  <c:v>33390</c:v>
                </c:pt>
                <c:pt idx="369">
                  <c:v>33359</c:v>
                </c:pt>
                <c:pt idx="370">
                  <c:v>33329</c:v>
                </c:pt>
                <c:pt idx="371">
                  <c:v>33298</c:v>
                </c:pt>
                <c:pt idx="372">
                  <c:v>33270</c:v>
                </c:pt>
                <c:pt idx="373">
                  <c:v>33239</c:v>
                </c:pt>
                <c:pt idx="374">
                  <c:v>33208</c:v>
                </c:pt>
                <c:pt idx="375">
                  <c:v>33178</c:v>
                </c:pt>
                <c:pt idx="376">
                  <c:v>33147</c:v>
                </c:pt>
                <c:pt idx="377">
                  <c:v>33117</c:v>
                </c:pt>
                <c:pt idx="378">
                  <c:v>33086</c:v>
                </c:pt>
                <c:pt idx="379">
                  <c:v>33055</c:v>
                </c:pt>
                <c:pt idx="380">
                  <c:v>33025</c:v>
                </c:pt>
                <c:pt idx="381">
                  <c:v>32994</c:v>
                </c:pt>
                <c:pt idx="382">
                  <c:v>32964</c:v>
                </c:pt>
                <c:pt idx="383">
                  <c:v>32933</c:v>
                </c:pt>
                <c:pt idx="384">
                  <c:v>32905</c:v>
                </c:pt>
                <c:pt idx="385">
                  <c:v>32874</c:v>
                </c:pt>
                <c:pt idx="386">
                  <c:v>32843</c:v>
                </c:pt>
                <c:pt idx="387">
                  <c:v>32813</c:v>
                </c:pt>
                <c:pt idx="388">
                  <c:v>32782</c:v>
                </c:pt>
                <c:pt idx="389">
                  <c:v>32752</c:v>
                </c:pt>
                <c:pt idx="390">
                  <c:v>32721</c:v>
                </c:pt>
                <c:pt idx="391">
                  <c:v>32690</c:v>
                </c:pt>
                <c:pt idx="392">
                  <c:v>32660</c:v>
                </c:pt>
                <c:pt idx="393">
                  <c:v>32629</c:v>
                </c:pt>
                <c:pt idx="394">
                  <c:v>32599</c:v>
                </c:pt>
                <c:pt idx="395">
                  <c:v>32568</c:v>
                </c:pt>
                <c:pt idx="396">
                  <c:v>32540</c:v>
                </c:pt>
                <c:pt idx="397">
                  <c:v>32509</c:v>
                </c:pt>
                <c:pt idx="398">
                  <c:v>32478</c:v>
                </c:pt>
                <c:pt idx="399">
                  <c:v>32448</c:v>
                </c:pt>
                <c:pt idx="400">
                  <c:v>32417</c:v>
                </c:pt>
                <c:pt idx="401">
                  <c:v>32387</c:v>
                </c:pt>
                <c:pt idx="402">
                  <c:v>32356</c:v>
                </c:pt>
                <c:pt idx="403">
                  <c:v>32325</c:v>
                </c:pt>
                <c:pt idx="404">
                  <c:v>32295</c:v>
                </c:pt>
                <c:pt idx="405">
                  <c:v>32264</c:v>
                </c:pt>
                <c:pt idx="406">
                  <c:v>32234</c:v>
                </c:pt>
                <c:pt idx="407">
                  <c:v>32203</c:v>
                </c:pt>
                <c:pt idx="408">
                  <c:v>32174</c:v>
                </c:pt>
                <c:pt idx="409">
                  <c:v>32143</c:v>
                </c:pt>
                <c:pt idx="410">
                  <c:v>32112</c:v>
                </c:pt>
                <c:pt idx="411">
                  <c:v>32082</c:v>
                </c:pt>
                <c:pt idx="412">
                  <c:v>32051</c:v>
                </c:pt>
                <c:pt idx="413">
                  <c:v>32021</c:v>
                </c:pt>
                <c:pt idx="414">
                  <c:v>31990</c:v>
                </c:pt>
                <c:pt idx="415">
                  <c:v>31959</c:v>
                </c:pt>
                <c:pt idx="416">
                  <c:v>31929</c:v>
                </c:pt>
                <c:pt idx="417">
                  <c:v>31898</c:v>
                </c:pt>
                <c:pt idx="418">
                  <c:v>31868</c:v>
                </c:pt>
                <c:pt idx="419">
                  <c:v>31837</c:v>
                </c:pt>
                <c:pt idx="420">
                  <c:v>31809</c:v>
                </c:pt>
                <c:pt idx="421">
                  <c:v>31778</c:v>
                </c:pt>
                <c:pt idx="422">
                  <c:v>31747</c:v>
                </c:pt>
                <c:pt idx="423">
                  <c:v>31717</c:v>
                </c:pt>
                <c:pt idx="424">
                  <c:v>31686</c:v>
                </c:pt>
                <c:pt idx="425">
                  <c:v>31656</c:v>
                </c:pt>
                <c:pt idx="426">
                  <c:v>31625</c:v>
                </c:pt>
                <c:pt idx="427">
                  <c:v>31594</c:v>
                </c:pt>
                <c:pt idx="428">
                  <c:v>31564</c:v>
                </c:pt>
                <c:pt idx="429">
                  <c:v>31533</c:v>
                </c:pt>
                <c:pt idx="430">
                  <c:v>31503</c:v>
                </c:pt>
                <c:pt idx="431">
                  <c:v>31472</c:v>
                </c:pt>
                <c:pt idx="432">
                  <c:v>31444</c:v>
                </c:pt>
                <c:pt idx="433">
                  <c:v>31413</c:v>
                </c:pt>
                <c:pt idx="434">
                  <c:v>31382</c:v>
                </c:pt>
                <c:pt idx="435">
                  <c:v>31352</c:v>
                </c:pt>
                <c:pt idx="436">
                  <c:v>31321</c:v>
                </c:pt>
                <c:pt idx="437">
                  <c:v>31291</c:v>
                </c:pt>
                <c:pt idx="438">
                  <c:v>31260</c:v>
                </c:pt>
                <c:pt idx="439">
                  <c:v>31229</c:v>
                </c:pt>
                <c:pt idx="440">
                  <c:v>31199</c:v>
                </c:pt>
                <c:pt idx="441">
                  <c:v>31168</c:v>
                </c:pt>
                <c:pt idx="442">
                  <c:v>31138</c:v>
                </c:pt>
                <c:pt idx="443">
                  <c:v>31107</c:v>
                </c:pt>
                <c:pt idx="444">
                  <c:v>31079</c:v>
                </c:pt>
                <c:pt idx="445">
                  <c:v>31048</c:v>
                </c:pt>
                <c:pt idx="446">
                  <c:v>31017</c:v>
                </c:pt>
                <c:pt idx="447">
                  <c:v>30987</c:v>
                </c:pt>
                <c:pt idx="448">
                  <c:v>30956</c:v>
                </c:pt>
                <c:pt idx="449">
                  <c:v>30926</c:v>
                </c:pt>
                <c:pt idx="450">
                  <c:v>30895</c:v>
                </c:pt>
                <c:pt idx="451">
                  <c:v>30864</c:v>
                </c:pt>
                <c:pt idx="452">
                  <c:v>30834</c:v>
                </c:pt>
                <c:pt idx="453">
                  <c:v>30803</c:v>
                </c:pt>
                <c:pt idx="454">
                  <c:v>30773</c:v>
                </c:pt>
                <c:pt idx="455">
                  <c:v>30742</c:v>
                </c:pt>
                <c:pt idx="456">
                  <c:v>30713</c:v>
                </c:pt>
                <c:pt idx="457">
                  <c:v>30682</c:v>
                </c:pt>
                <c:pt idx="458">
                  <c:v>30651</c:v>
                </c:pt>
                <c:pt idx="459">
                  <c:v>30621</c:v>
                </c:pt>
                <c:pt idx="460">
                  <c:v>30590</c:v>
                </c:pt>
                <c:pt idx="461">
                  <c:v>30560</c:v>
                </c:pt>
                <c:pt idx="462">
                  <c:v>30529</c:v>
                </c:pt>
                <c:pt idx="463">
                  <c:v>30498</c:v>
                </c:pt>
                <c:pt idx="464">
                  <c:v>30468</c:v>
                </c:pt>
                <c:pt idx="465">
                  <c:v>30437</c:v>
                </c:pt>
                <c:pt idx="466">
                  <c:v>30407</c:v>
                </c:pt>
                <c:pt idx="467">
                  <c:v>30376</c:v>
                </c:pt>
                <c:pt idx="468">
                  <c:v>30348</c:v>
                </c:pt>
                <c:pt idx="469">
                  <c:v>30317</c:v>
                </c:pt>
                <c:pt idx="470">
                  <c:v>30286</c:v>
                </c:pt>
                <c:pt idx="471">
                  <c:v>30256</c:v>
                </c:pt>
                <c:pt idx="472">
                  <c:v>30225</c:v>
                </c:pt>
                <c:pt idx="473">
                  <c:v>30195</c:v>
                </c:pt>
                <c:pt idx="474">
                  <c:v>30164</c:v>
                </c:pt>
                <c:pt idx="475">
                  <c:v>30133</c:v>
                </c:pt>
                <c:pt idx="476">
                  <c:v>30103</c:v>
                </c:pt>
                <c:pt idx="477">
                  <c:v>30072</c:v>
                </c:pt>
                <c:pt idx="478">
                  <c:v>30042</c:v>
                </c:pt>
                <c:pt idx="479">
                  <c:v>30011</c:v>
                </c:pt>
                <c:pt idx="480">
                  <c:v>29983</c:v>
                </c:pt>
                <c:pt idx="481">
                  <c:v>29952</c:v>
                </c:pt>
                <c:pt idx="482">
                  <c:v>29921</c:v>
                </c:pt>
                <c:pt idx="483">
                  <c:v>29891</c:v>
                </c:pt>
                <c:pt idx="484">
                  <c:v>29860</c:v>
                </c:pt>
                <c:pt idx="485">
                  <c:v>29830</c:v>
                </c:pt>
                <c:pt idx="486">
                  <c:v>29799</c:v>
                </c:pt>
                <c:pt idx="487">
                  <c:v>29768</c:v>
                </c:pt>
                <c:pt idx="488">
                  <c:v>29738</c:v>
                </c:pt>
                <c:pt idx="489">
                  <c:v>29707</c:v>
                </c:pt>
                <c:pt idx="490">
                  <c:v>29677</c:v>
                </c:pt>
                <c:pt idx="491">
                  <c:v>29646</c:v>
                </c:pt>
                <c:pt idx="492">
                  <c:v>29618</c:v>
                </c:pt>
                <c:pt idx="493">
                  <c:v>29587</c:v>
                </c:pt>
                <c:pt idx="494">
                  <c:v>29556</c:v>
                </c:pt>
                <c:pt idx="495">
                  <c:v>29526</c:v>
                </c:pt>
                <c:pt idx="496">
                  <c:v>29495</c:v>
                </c:pt>
                <c:pt idx="497">
                  <c:v>29465</c:v>
                </c:pt>
                <c:pt idx="498">
                  <c:v>29434</c:v>
                </c:pt>
                <c:pt idx="499">
                  <c:v>29403</c:v>
                </c:pt>
                <c:pt idx="500">
                  <c:v>29373</c:v>
                </c:pt>
                <c:pt idx="501">
                  <c:v>29342</c:v>
                </c:pt>
                <c:pt idx="502">
                  <c:v>29312</c:v>
                </c:pt>
                <c:pt idx="503">
                  <c:v>29281</c:v>
                </c:pt>
                <c:pt idx="504">
                  <c:v>29252</c:v>
                </c:pt>
                <c:pt idx="505">
                  <c:v>29221</c:v>
                </c:pt>
                <c:pt idx="506">
                  <c:v>29190</c:v>
                </c:pt>
                <c:pt idx="507">
                  <c:v>29160</c:v>
                </c:pt>
                <c:pt idx="508">
                  <c:v>29129</c:v>
                </c:pt>
                <c:pt idx="509">
                  <c:v>29099</c:v>
                </c:pt>
                <c:pt idx="510">
                  <c:v>29068</c:v>
                </c:pt>
                <c:pt idx="511">
                  <c:v>29037</c:v>
                </c:pt>
                <c:pt idx="512">
                  <c:v>29007</c:v>
                </c:pt>
                <c:pt idx="513">
                  <c:v>28976</c:v>
                </c:pt>
                <c:pt idx="514">
                  <c:v>28946</c:v>
                </c:pt>
                <c:pt idx="515">
                  <c:v>28915</c:v>
                </c:pt>
                <c:pt idx="516">
                  <c:v>28887</c:v>
                </c:pt>
                <c:pt idx="517">
                  <c:v>28856</c:v>
                </c:pt>
                <c:pt idx="518">
                  <c:v>28825</c:v>
                </c:pt>
                <c:pt idx="519">
                  <c:v>28795</c:v>
                </c:pt>
                <c:pt idx="520">
                  <c:v>28764</c:v>
                </c:pt>
                <c:pt idx="521">
                  <c:v>28734</c:v>
                </c:pt>
                <c:pt idx="522">
                  <c:v>28703</c:v>
                </c:pt>
                <c:pt idx="523">
                  <c:v>28672</c:v>
                </c:pt>
                <c:pt idx="524">
                  <c:v>28642</c:v>
                </c:pt>
                <c:pt idx="525">
                  <c:v>28611</c:v>
                </c:pt>
                <c:pt idx="526">
                  <c:v>28581</c:v>
                </c:pt>
                <c:pt idx="527">
                  <c:v>28550</c:v>
                </c:pt>
                <c:pt idx="528">
                  <c:v>28522</c:v>
                </c:pt>
                <c:pt idx="529">
                  <c:v>28491</c:v>
                </c:pt>
                <c:pt idx="530">
                  <c:v>28460</c:v>
                </c:pt>
                <c:pt idx="531">
                  <c:v>28430</c:v>
                </c:pt>
                <c:pt idx="532">
                  <c:v>28399</c:v>
                </c:pt>
                <c:pt idx="533">
                  <c:v>28369</c:v>
                </c:pt>
                <c:pt idx="534">
                  <c:v>28338</c:v>
                </c:pt>
                <c:pt idx="535">
                  <c:v>28307</c:v>
                </c:pt>
                <c:pt idx="536">
                  <c:v>28277</c:v>
                </c:pt>
                <c:pt idx="537">
                  <c:v>28246</c:v>
                </c:pt>
                <c:pt idx="538">
                  <c:v>28216</c:v>
                </c:pt>
                <c:pt idx="539">
                  <c:v>28185</c:v>
                </c:pt>
                <c:pt idx="540">
                  <c:v>28157</c:v>
                </c:pt>
                <c:pt idx="541">
                  <c:v>28126</c:v>
                </c:pt>
                <c:pt idx="542">
                  <c:v>28095</c:v>
                </c:pt>
                <c:pt idx="543">
                  <c:v>28065</c:v>
                </c:pt>
                <c:pt idx="544">
                  <c:v>28034</c:v>
                </c:pt>
                <c:pt idx="545">
                  <c:v>28004</c:v>
                </c:pt>
                <c:pt idx="546">
                  <c:v>27973</c:v>
                </c:pt>
                <c:pt idx="547">
                  <c:v>27942</c:v>
                </c:pt>
                <c:pt idx="548">
                  <c:v>27912</c:v>
                </c:pt>
                <c:pt idx="549">
                  <c:v>27881</c:v>
                </c:pt>
                <c:pt idx="550">
                  <c:v>27851</c:v>
                </c:pt>
                <c:pt idx="551">
                  <c:v>27820</c:v>
                </c:pt>
                <c:pt idx="552">
                  <c:v>27791</c:v>
                </c:pt>
                <c:pt idx="553">
                  <c:v>27760</c:v>
                </c:pt>
                <c:pt idx="554">
                  <c:v>27729</c:v>
                </c:pt>
                <c:pt idx="555">
                  <c:v>27699</c:v>
                </c:pt>
                <c:pt idx="556">
                  <c:v>27668</c:v>
                </c:pt>
                <c:pt idx="557">
                  <c:v>27638</c:v>
                </c:pt>
                <c:pt idx="558">
                  <c:v>27607</c:v>
                </c:pt>
                <c:pt idx="559">
                  <c:v>27576</c:v>
                </c:pt>
                <c:pt idx="560">
                  <c:v>27546</c:v>
                </c:pt>
                <c:pt idx="561">
                  <c:v>27515</c:v>
                </c:pt>
                <c:pt idx="562">
                  <c:v>27485</c:v>
                </c:pt>
                <c:pt idx="563">
                  <c:v>27454</c:v>
                </c:pt>
                <c:pt idx="564">
                  <c:v>27426</c:v>
                </c:pt>
                <c:pt idx="565">
                  <c:v>27395</c:v>
                </c:pt>
                <c:pt idx="566">
                  <c:v>27364</c:v>
                </c:pt>
                <c:pt idx="567">
                  <c:v>27334</c:v>
                </c:pt>
                <c:pt idx="568">
                  <c:v>27303</c:v>
                </c:pt>
                <c:pt idx="569">
                  <c:v>27273</c:v>
                </c:pt>
                <c:pt idx="570">
                  <c:v>27242</c:v>
                </c:pt>
                <c:pt idx="571">
                  <c:v>27211</c:v>
                </c:pt>
                <c:pt idx="572">
                  <c:v>27181</c:v>
                </c:pt>
                <c:pt idx="573">
                  <c:v>27150</c:v>
                </c:pt>
                <c:pt idx="574">
                  <c:v>27120</c:v>
                </c:pt>
                <c:pt idx="575">
                  <c:v>27089</c:v>
                </c:pt>
                <c:pt idx="576">
                  <c:v>27061</c:v>
                </c:pt>
                <c:pt idx="577">
                  <c:v>27030</c:v>
                </c:pt>
                <c:pt idx="578">
                  <c:v>26999</c:v>
                </c:pt>
                <c:pt idx="579">
                  <c:v>26969</c:v>
                </c:pt>
                <c:pt idx="580">
                  <c:v>26938</c:v>
                </c:pt>
                <c:pt idx="581">
                  <c:v>26908</c:v>
                </c:pt>
                <c:pt idx="582">
                  <c:v>26877</c:v>
                </c:pt>
                <c:pt idx="583">
                  <c:v>26846</c:v>
                </c:pt>
                <c:pt idx="584">
                  <c:v>26816</c:v>
                </c:pt>
                <c:pt idx="585">
                  <c:v>26785</c:v>
                </c:pt>
                <c:pt idx="586">
                  <c:v>26755</c:v>
                </c:pt>
                <c:pt idx="587">
                  <c:v>26724</c:v>
                </c:pt>
                <c:pt idx="588">
                  <c:v>26696</c:v>
                </c:pt>
                <c:pt idx="589">
                  <c:v>26665</c:v>
                </c:pt>
                <c:pt idx="590">
                  <c:v>26634</c:v>
                </c:pt>
                <c:pt idx="591">
                  <c:v>26604</c:v>
                </c:pt>
                <c:pt idx="592">
                  <c:v>26573</c:v>
                </c:pt>
                <c:pt idx="593">
                  <c:v>26543</c:v>
                </c:pt>
                <c:pt idx="594">
                  <c:v>26512</c:v>
                </c:pt>
                <c:pt idx="595">
                  <c:v>26481</c:v>
                </c:pt>
                <c:pt idx="596">
                  <c:v>26451</c:v>
                </c:pt>
                <c:pt idx="597">
                  <c:v>26420</c:v>
                </c:pt>
                <c:pt idx="598">
                  <c:v>26390</c:v>
                </c:pt>
                <c:pt idx="599">
                  <c:v>26359</c:v>
                </c:pt>
                <c:pt idx="600">
                  <c:v>26330</c:v>
                </c:pt>
                <c:pt idx="601">
                  <c:v>26299</c:v>
                </c:pt>
                <c:pt idx="602">
                  <c:v>26268</c:v>
                </c:pt>
              </c:numCache>
            </c:numRef>
          </c:cat>
          <c:val>
            <c:numRef>
              <c:f>GOTH!$B$2:$B$604</c:f>
              <c:numCache>
                <c:formatCode>General</c:formatCode>
                <c:ptCount val="603"/>
                <c:pt idx="0">
                  <c:v>40.125264575716756</c:v>
                </c:pt>
                <c:pt idx="1">
                  <c:v>42.079949971137196</c:v>
                </c:pt>
                <c:pt idx="2">
                  <c:v>43.443813738695404</c:v>
                </c:pt>
                <c:pt idx="3">
                  <c:v>45.855108716567251</c:v>
                </c:pt>
                <c:pt idx="4">
                  <c:v>43.938810852414846</c:v>
                </c:pt>
                <c:pt idx="5">
                  <c:v>44.308062343659799</c:v>
                </c:pt>
                <c:pt idx="6">
                  <c:v>41.442563017125259</c:v>
                </c:pt>
                <c:pt idx="7">
                  <c:v>43.512411006349815</c:v>
                </c:pt>
                <c:pt idx="8">
                  <c:v>42.286511448912833</c:v>
                </c:pt>
                <c:pt idx="9">
                  <c:v>41.345968828170093</c:v>
                </c:pt>
                <c:pt idx="10">
                  <c:v>40.447469694054256</c:v>
                </c:pt>
                <c:pt idx="11">
                  <c:v>40.226765441600918</c:v>
                </c:pt>
                <c:pt idx="12">
                  <c:v>38.222917067538958</c:v>
                </c:pt>
                <c:pt idx="13">
                  <c:v>36.666827015585916</c:v>
                </c:pt>
                <c:pt idx="14">
                  <c:v>35.734462189724837</c:v>
                </c:pt>
                <c:pt idx="15">
                  <c:v>36.136905907254189</c:v>
                </c:pt>
                <c:pt idx="16">
                  <c:v>34.843467385029825</c:v>
                </c:pt>
                <c:pt idx="17">
                  <c:v>31.460073119107179</c:v>
                </c:pt>
                <c:pt idx="18">
                  <c:v>32.355204925918798</c:v>
                </c:pt>
                <c:pt idx="19">
                  <c:v>33.676255532037707</c:v>
                </c:pt>
                <c:pt idx="20">
                  <c:v>31.471233403886856</c:v>
                </c:pt>
                <c:pt idx="21">
                  <c:v>29.827689051375792</c:v>
                </c:pt>
                <c:pt idx="22">
                  <c:v>29.289109101404652</c:v>
                </c:pt>
                <c:pt idx="23">
                  <c:v>28.020300173176828</c:v>
                </c:pt>
                <c:pt idx="24">
                  <c:v>24.866172791995382</c:v>
                </c:pt>
                <c:pt idx="25">
                  <c:v>28.422359053299974</c:v>
                </c:pt>
                <c:pt idx="26">
                  <c:v>31.03251876082355</c:v>
                </c:pt>
                <c:pt idx="27">
                  <c:v>31.08312487973831</c:v>
                </c:pt>
                <c:pt idx="28">
                  <c:v>30.219164902828552</c:v>
                </c:pt>
                <c:pt idx="29">
                  <c:v>29.224167789109099</c:v>
                </c:pt>
                <c:pt idx="30">
                  <c:v>28.639022512988259</c:v>
                </c:pt>
                <c:pt idx="31">
                  <c:v>28.155281893400037</c:v>
                </c:pt>
                <c:pt idx="32">
                  <c:v>28.674042716952087</c:v>
                </c:pt>
                <c:pt idx="33">
                  <c:v>28.302482201269964</c:v>
                </c:pt>
                <c:pt idx="34">
                  <c:v>26.47739080238599</c:v>
                </c:pt>
                <c:pt idx="35">
                  <c:v>28.341639407350392</c:v>
                </c:pt>
                <c:pt idx="36">
                  <c:v>27.269578603040216</c:v>
                </c:pt>
                <c:pt idx="37">
                  <c:v>26.789397729459299</c:v>
                </c:pt>
                <c:pt idx="38">
                  <c:v>26.015970752357127</c:v>
                </c:pt>
                <c:pt idx="39">
                  <c:v>24.118241293053682</c:v>
                </c:pt>
                <c:pt idx="40">
                  <c:v>26.555416586492207</c:v>
                </c:pt>
                <c:pt idx="41">
                  <c:v>26.089474696940538</c:v>
                </c:pt>
                <c:pt idx="42">
                  <c:v>28.035212622666922</c:v>
                </c:pt>
                <c:pt idx="43">
                  <c:v>27.915335770636904</c:v>
                </c:pt>
                <c:pt idx="44">
                  <c:v>27.095343467385028</c:v>
                </c:pt>
                <c:pt idx="45">
                  <c:v>26.153261497017507</c:v>
                </c:pt>
                <c:pt idx="46">
                  <c:v>26.027227246488359</c:v>
                </c:pt>
                <c:pt idx="47">
                  <c:v>25.476717336925148</c:v>
                </c:pt>
                <c:pt idx="48">
                  <c:v>25.407639022512985</c:v>
                </c:pt>
                <c:pt idx="49">
                  <c:v>26.109582451414273</c:v>
                </c:pt>
                <c:pt idx="50">
                  <c:v>27.167692899749856</c:v>
                </c:pt>
                <c:pt idx="51">
                  <c:v>25.722628439484318</c:v>
                </c:pt>
                <c:pt idx="52">
                  <c:v>25.472195497402346</c:v>
                </c:pt>
                <c:pt idx="53">
                  <c:v>24.776409467000192</c:v>
                </c:pt>
                <c:pt idx="54">
                  <c:v>24.238599191841445</c:v>
                </c:pt>
                <c:pt idx="55">
                  <c:v>23.779584375601306</c:v>
                </c:pt>
                <c:pt idx="56">
                  <c:v>23.766596113142199</c:v>
                </c:pt>
                <c:pt idx="57">
                  <c:v>23.315470463729074</c:v>
                </c:pt>
                <c:pt idx="58">
                  <c:v>23.203771406580721</c:v>
                </c:pt>
                <c:pt idx="59">
                  <c:v>22.938233596305558</c:v>
                </c:pt>
                <c:pt idx="60">
                  <c:v>22.731575909178371</c:v>
                </c:pt>
                <c:pt idx="61">
                  <c:v>22.740427169520874</c:v>
                </c:pt>
                <c:pt idx="62">
                  <c:v>21.92486049644025</c:v>
                </c:pt>
                <c:pt idx="63">
                  <c:v>21.539638252838174</c:v>
                </c:pt>
                <c:pt idx="64">
                  <c:v>21.154608427939195</c:v>
                </c:pt>
                <c:pt idx="65">
                  <c:v>20.455551279584377</c:v>
                </c:pt>
                <c:pt idx="66">
                  <c:v>20.860785068308637</c:v>
                </c:pt>
                <c:pt idx="67">
                  <c:v>20.88656917452376</c:v>
                </c:pt>
                <c:pt idx="68">
                  <c:v>20.91206465268424</c:v>
                </c:pt>
                <c:pt idx="69">
                  <c:v>20.192995959207234</c:v>
                </c:pt>
                <c:pt idx="70">
                  <c:v>20.174716182412929</c:v>
                </c:pt>
                <c:pt idx="71">
                  <c:v>19.870117375408888</c:v>
                </c:pt>
                <c:pt idx="72">
                  <c:v>19.816624975947658</c:v>
                </c:pt>
                <c:pt idx="73">
                  <c:v>18.589859534346736</c:v>
                </c:pt>
                <c:pt idx="74">
                  <c:v>18.666923224937463</c:v>
                </c:pt>
                <c:pt idx="75">
                  <c:v>19.664614200500285</c:v>
                </c:pt>
                <c:pt idx="76">
                  <c:v>20.015489705599382</c:v>
                </c:pt>
                <c:pt idx="77">
                  <c:v>20.005387723686741</c:v>
                </c:pt>
                <c:pt idx="78">
                  <c:v>18.47248412545699</c:v>
                </c:pt>
                <c:pt idx="79">
                  <c:v>18.974215893784873</c:v>
                </c:pt>
                <c:pt idx="80">
                  <c:v>20.240908216278623</c:v>
                </c:pt>
                <c:pt idx="81">
                  <c:v>19.849047527419664</c:v>
                </c:pt>
                <c:pt idx="82">
                  <c:v>20.275062536078504</c:v>
                </c:pt>
                <c:pt idx="83">
                  <c:v>20.064556474889361</c:v>
                </c:pt>
                <c:pt idx="84">
                  <c:v>19.895035597460073</c:v>
                </c:pt>
                <c:pt idx="85">
                  <c:v>20.247258033480854</c:v>
                </c:pt>
                <c:pt idx="86">
                  <c:v>19.193669424668077</c:v>
                </c:pt>
                <c:pt idx="87">
                  <c:v>19.808543390417547</c:v>
                </c:pt>
                <c:pt idx="88">
                  <c:v>19.891860688858959</c:v>
                </c:pt>
                <c:pt idx="89">
                  <c:v>19.415528189340002</c:v>
                </c:pt>
                <c:pt idx="90">
                  <c:v>18.975274196651913</c:v>
                </c:pt>
                <c:pt idx="91">
                  <c:v>19.274292861266112</c:v>
                </c:pt>
                <c:pt idx="92">
                  <c:v>18.574850875505099</c:v>
                </c:pt>
                <c:pt idx="93">
                  <c:v>18.859245718683855</c:v>
                </c:pt>
                <c:pt idx="94">
                  <c:v>18.506542235905329</c:v>
                </c:pt>
                <c:pt idx="95">
                  <c:v>18.12536078506831</c:v>
                </c:pt>
                <c:pt idx="96">
                  <c:v>18.013661727919949</c:v>
                </c:pt>
                <c:pt idx="97">
                  <c:v>17.889647873773331</c:v>
                </c:pt>
                <c:pt idx="98">
                  <c:v>17.150182797767943</c:v>
                </c:pt>
                <c:pt idx="99">
                  <c:v>17.782951702905521</c:v>
                </c:pt>
                <c:pt idx="100">
                  <c:v>17.373580912064654</c:v>
                </c:pt>
                <c:pt idx="101">
                  <c:v>16.899557436982874</c:v>
                </c:pt>
                <c:pt idx="102">
                  <c:v>16.178083509717144</c:v>
                </c:pt>
                <c:pt idx="103">
                  <c:v>15.710698479892246</c:v>
                </c:pt>
                <c:pt idx="104">
                  <c:v>16.218299018664613</c:v>
                </c:pt>
                <c:pt idx="105">
                  <c:v>15.453915720608041</c:v>
                </c:pt>
                <c:pt idx="106">
                  <c:v>15.689243794496825</c:v>
                </c:pt>
                <c:pt idx="107">
                  <c:v>15.370117375408887</c:v>
                </c:pt>
                <c:pt idx="108">
                  <c:v>15.097075235712911</c:v>
                </c:pt>
                <c:pt idx="109">
                  <c:v>14.572638060419472</c:v>
                </c:pt>
                <c:pt idx="110">
                  <c:v>14.413219164902827</c:v>
                </c:pt>
                <c:pt idx="111">
                  <c:v>13.721281508562631</c:v>
                </c:pt>
                <c:pt idx="112">
                  <c:v>13.624975947662113</c:v>
                </c:pt>
                <c:pt idx="113">
                  <c:v>13.586299788339426</c:v>
                </c:pt>
                <c:pt idx="114">
                  <c:v>13.860592649605541</c:v>
                </c:pt>
                <c:pt idx="115">
                  <c:v>13.5326149701751</c:v>
                </c:pt>
                <c:pt idx="116">
                  <c:v>13.270348277852607</c:v>
                </c:pt>
                <c:pt idx="117">
                  <c:v>13.105253030594573</c:v>
                </c:pt>
                <c:pt idx="118">
                  <c:v>12.606599961516258</c:v>
                </c:pt>
                <c:pt idx="119">
                  <c:v>13.449201462382144</c:v>
                </c:pt>
                <c:pt idx="120">
                  <c:v>13.550798537617856</c:v>
                </c:pt>
                <c:pt idx="121">
                  <c:v>13.139118722339811</c:v>
                </c:pt>
                <c:pt idx="122">
                  <c:v>12.626611506638445</c:v>
                </c:pt>
                <c:pt idx="123">
                  <c:v>12.099288050798537</c:v>
                </c:pt>
                <c:pt idx="124">
                  <c:v>11.996921300750433</c:v>
                </c:pt>
                <c:pt idx="125">
                  <c:v>12.057918029632479</c:v>
                </c:pt>
                <c:pt idx="126">
                  <c:v>10.885318452953628</c:v>
                </c:pt>
                <c:pt idx="127">
                  <c:v>11.726861650952474</c:v>
                </c:pt>
                <c:pt idx="128">
                  <c:v>12.432942081970367</c:v>
                </c:pt>
                <c:pt idx="129">
                  <c:v>12.705791802963248</c:v>
                </c:pt>
                <c:pt idx="130">
                  <c:v>12.94208197036752</c:v>
                </c:pt>
                <c:pt idx="131">
                  <c:v>13.119203386569174</c:v>
                </c:pt>
                <c:pt idx="132">
                  <c:v>12.755724456417163</c:v>
                </c:pt>
                <c:pt idx="133">
                  <c:v>12.769097556282469</c:v>
                </c:pt>
                <c:pt idx="134">
                  <c:v>12.3736771214162</c:v>
                </c:pt>
                <c:pt idx="135">
                  <c:v>12.099672888204735</c:v>
                </c:pt>
                <c:pt idx="136">
                  <c:v>11.357994997113718</c:v>
                </c:pt>
                <c:pt idx="137">
                  <c:v>11.384067731383491</c:v>
                </c:pt>
                <c:pt idx="138">
                  <c:v>10.979411198768521</c:v>
                </c:pt>
                <c:pt idx="139">
                  <c:v>10.095535886088127</c:v>
                </c:pt>
                <c:pt idx="140">
                  <c:v>10.598422166634595</c:v>
                </c:pt>
                <c:pt idx="141">
                  <c:v>9.9163940735039446</c:v>
                </c:pt>
                <c:pt idx="142">
                  <c:v>10.481142967096401</c:v>
                </c:pt>
                <c:pt idx="143">
                  <c:v>11.417067538964787</c:v>
                </c:pt>
                <c:pt idx="144">
                  <c:v>11.251010198191263</c:v>
                </c:pt>
                <c:pt idx="145">
                  <c:v>10.626226669232249</c:v>
                </c:pt>
                <c:pt idx="146">
                  <c:v>10.331633634789299</c:v>
                </c:pt>
                <c:pt idx="147">
                  <c:v>10.728304791225707</c:v>
                </c:pt>
                <c:pt idx="148">
                  <c:v>10.540985183759862</c:v>
                </c:pt>
                <c:pt idx="149">
                  <c:v>9.9691167981527808</c:v>
                </c:pt>
                <c:pt idx="150">
                  <c:v>10.170098133538579</c:v>
                </c:pt>
                <c:pt idx="151">
                  <c:v>9.8193188377910339</c:v>
                </c:pt>
                <c:pt idx="152">
                  <c:v>9.500481046757745</c:v>
                </c:pt>
                <c:pt idx="153">
                  <c:v>8.8447181065999612</c:v>
                </c:pt>
                <c:pt idx="154">
                  <c:v>8.8429863382720786</c:v>
                </c:pt>
                <c:pt idx="155">
                  <c:v>8.3972484125456983</c:v>
                </c:pt>
                <c:pt idx="156">
                  <c:v>7.6762555320377137</c:v>
                </c:pt>
                <c:pt idx="157">
                  <c:v>7.0722532230132771</c:v>
                </c:pt>
                <c:pt idx="158">
                  <c:v>7.9457379257263794</c:v>
                </c:pt>
                <c:pt idx="159">
                  <c:v>8.6901096786607646</c:v>
                </c:pt>
                <c:pt idx="160">
                  <c:v>8.6226669232249371</c:v>
                </c:pt>
                <c:pt idx="161">
                  <c:v>9.3202809313065238</c:v>
                </c:pt>
                <c:pt idx="162">
                  <c:v>11.221473927265729</c:v>
                </c:pt>
                <c:pt idx="163">
                  <c:v>12.342024244756589</c:v>
                </c:pt>
                <c:pt idx="164">
                  <c:v>12.193380796613431</c:v>
                </c:pt>
                <c:pt idx="165">
                  <c:v>12.314796998268232</c:v>
                </c:pt>
                <c:pt idx="166">
                  <c:v>13.472965172214739</c:v>
                </c:pt>
                <c:pt idx="167">
                  <c:v>13.33067154127381</c:v>
                </c:pt>
                <c:pt idx="168">
                  <c:v>12.725610929382336</c:v>
                </c:pt>
                <c:pt idx="169">
                  <c:v>12.80190494516067</c:v>
                </c:pt>
                <c:pt idx="170">
                  <c:v>13.262940157783335</c:v>
                </c:pt>
                <c:pt idx="171">
                  <c:v>14.12699634404464</c:v>
                </c:pt>
                <c:pt idx="172">
                  <c:v>14.249951895324227</c:v>
                </c:pt>
                <c:pt idx="173">
                  <c:v>14.906484510294401</c:v>
                </c:pt>
                <c:pt idx="174">
                  <c:v>14.68876274773908</c:v>
                </c:pt>
                <c:pt idx="175">
                  <c:v>14.181162208966711</c:v>
                </c:pt>
                <c:pt idx="176">
                  <c:v>14.001058302867039</c:v>
                </c:pt>
                <c:pt idx="177">
                  <c:v>14.463632865114489</c:v>
                </c:pt>
                <c:pt idx="178">
                  <c:v>14.725995766788529</c:v>
                </c:pt>
                <c:pt idx="179">
                  <c:v>14.261785645564746</c:v>
                </c:pt>
                <c:pt idx="180">
                  <c:v>13.670001924187028</c:v>
                </c:pt>
                <c:pt idx="181">
                  <c:v>13.534923994612274</c:v>
                </c:pt>
                <c:pt idx="182">
                  <c:v>13.837213777179141</c:v>
                </c:pt>
                <c:pt idx="183">
                  <c:v>13.645372330190494</c:v>
                </c:pt>
                <c:pt idx="184">
                  <c:v>13.475370406003464</c:v>
                </c:pt>
                <c:pt idx="185">
                  <c:v>13.257071387338849</c:v>
                </c:pt>
                <c:pt idx="186">
                  <c:v>12.852126226669231</c:v>
                </c:pt>
                <c:pt idx="187">
                  <c:v>12.543967673657878</c:v>
                </c:pt>
                <c:pt idx="188">
                  <c:v>12.282663074850875</c:v>
                </c:pt>
                <c:pt idx="189">
                  <c:v>12.220511833750239</c:v>
                </c:pt>
                <c:pt idx="190">
                  <c:v>12.2194535308832</c:v>
                </c:pt>
                <c:pt idx="191">
                  <c:v>12.609293823359629</c:v>
                </c:pt>
                <c:pt idx="192">
                  <c:v>12.457475466615355</c:v>
                </c:pt>
                <c:pt idx="193">
                  <c:v>12.321146815470463</c:v>
                </c:pt>
                <c:pt idx="194">
                  <c:v>12.315566673080623</c:v>
                </c:pt>
                <c:pt idx="195">
                  <c:v>12.009717144506444</c:v>
                </c:pt>
                <c:pt idx="196">
                  <c:v>12.021166057340773</c:v>
                </c:pt>
                <c:pt idx="197">
                  <c:v>11.612564941312295</c:v>
                </c:pt>
                <c:pt idx="198">
                  <c:v>11.822301327689051</c:v>
                </c:pt>
                <c:pt idx="199">
                  <c:v>11.740715797575522</c:v>
                </c:pt>
                <c:pt idx="200">
                  <c:v>11.873965749470848</c:v>
                </c:pt>
                <c:pt idx="201">
                  <c:v>11.461708678083509</c:v>
                </c:pt>
                <c:pt idx="202">
                  <c:v>11.463344237059841</c:v>
                </c:pt>
                <c:pt idx="203">
                  <c:v>11.129978833942657</c:v>
                </c:pt>
                <c:pt idx="204">
                  <c:v>11.358379834519914</c:v>
                </c:pt>
                <c:pt idx="205">
                  <c:v>11.579757552434094</c:v>
                </c:pt>
                <c:pt idx="206">
                  <c:v>11.364922070425244</c:v>
                </c:pt>
                <c:pt idx="207">
                  <c:v>11.659803732922839</c:v>
                </c:pt>
                <c:pt idx="208">
                  <c:v>11.293246103521261</c:v>
                </c:pt>
                <c:pt idx="209">
                  <c:v>10.873580912064654</c:v>
                </c:pt>
                <c:pt idx="210">
                  <c:v>10.723301904945158</c:v>
                </c:pt>
                <c:pt idx="211">
                  <c:v>10.623821435443526</c:v>
                </c:pt>
                <c:pt idx="212">
                  <c:v>10.599576678853184</c:v>
                </c:pt>
                <c:pt idx="213">
                  <c:v>10.975947662112755</c:v>
                </c:pt>
                <c:pt idx="214">
                  <c:v>10.781989609390033</c:v>
                </c:pt>
                <c:pt idx="215">
                  <c:v>10.653261497017509</c:v>
                </c:pt>
                <c:pt idx="216">
                  <c:v>10.835193380796612</c:v>
                </c:pt>
                <c:pt idx="217">
                  <c:v>11.015393496247835</c:v>
                </c:pt>
                <c:pt idx="218">
                  <c:v>10.882528381758709</c:v>
                </c:pt>
                <c:pt idx="219">
                  <c:v>10.697710217433135</c:v>
                </c:pt>
                <c:pt idx="220">
                  <c:v>10.180873580912063</c:v>
                </c:pt>
                <c:pt idx="221">
                  <c:v>10.108812776601885</c:v>
                </c:pt>
                <c:pt idx="222">
                  <c:v>9.5821627862228205</c:v>
                </c:pt>
                <c:pt idx="223">
                  <c:v>9.6979988454877812</c:v>
                </c:pt>
                <c:pt idx="224">
                  <c:v>9.5566673080623445</c:v>
                </c:pt>
                <c:pt idx="225">
                  <c:v>9.3756013084471803</c:v>
                </c:pt>
                <c:pt idx="226">
                  <c:v>9.2706369059072546</c:v>
                </c:pt>
                <c:pt idx="227">
                  <c:v>8.8216278622282065</c:v>
                </c:pt>
                <c:pt idx="228">
                  <c:v>8.160284779680584</c:v>
                </c:pt>
                <c:pt idx="229">
                  <c:v>8.0926496055416575</c:v>
                </c:pt>
                <c:pt idx="230">
                  <c:v>8.2326342120454115</c:v>
                </c:pt>
                <c:pt idx="231">
                  <c:v>8.4646911679815275</c:v>
                </c:pt>
                <c:pt idx="232">
                  <c:v>9.0081777948816608</c:v>
                </c:pt>
                <c:pt idx="233">
                  <c:v>8.5218395228016171</c:v>
                </c:pt>
                <c:pt idx="234">
                  <c:v>7.8437560130844703</c:v>
                </c:pt>
                <c:pt idx="235">
                  <c:v>8.8134500673465457</c:v>
                </c:pt>
                <c:pt idx="236">
                  <c:v>8.7706369059072546</c:v>
                </c:pt>
                <c:pt idx="237">
                  <c:v>9.5229940350202043</c:v>
                </c:pt>
                <c:pt idx="238">
                  <c:v>10.266884741196844</c:v>
                </c:pt>
                <c:pt idx="239">
                  <c:v>10.360977487011738</c:v>
                </c:pt>
                <c:pt idx="240">
                  <c:v>11.038964787377333</c:v>
                </c:pt>
                <c:pt idx="241">
                  <c:v>10.647777563979218</c:v>
                </c:pt>
                <c:pt idx="242">
                  <c:v>10.873580912064654</c:v>
                </c:pt>
                <c:pt idx="243">
                  <c:v>11.04560323263421</c:v>
                </c:pt>
                <c:pt idx="244">
                  <c:v>10.96257456224745</c:v>
                </c:pt>
                <c:pt idx="245">
                  <c:v>10.1960746584568</c:v>
                </c:pt>
                <c:pt idx="246">
                  <c:v>10.014816240138542</c:v>
                </c:pt>
                <c:pt idx="247">
                  <c:v>10.906099672888203</c:v>
                </c:pt>
                <c:pt idx="248">
                  <c:v>11.653165287665962</c:v>
                </c:pt>
                <c:pt idx="249">
                  <c:v>11.779680584952857</c:v>
                </c:pt>
                <c:pt idx="250">
                  <c:v>12.082162786222819</c:v>
                </c:pt>
                <c:pt idx="251">
                  <c:v>12.020973638637674</c:v>
                </c:pt>
                <c:pt idx="252">
                  <c:v>11.163459688281698</c:v>
                </c:pt>
                <c:pt idx="253">
                  <c:v>11.929382335963055</c:v>
                </c:pt>
                <c:pt idx="254">
                  <c:v>13.142293630940927</c:v>
                </c:pt>
                <c:pt idx="255">
                  <c:v>12.702328266307484</c:v>
                </c:pt>
                <c:pt idx="256">
                  <c:v>12.651048681931885</c:v>
                </c:pt>
                <c:pt idx="257">
                  <c:v>13.752164710409851</c:v>
                </c:pt>
                <c:pt idx="258">
                  <c:v>13.820569559361168</c:v>
                </c:pt>
                <c:pt idx="259">
                  <c:v>14.601500865884164</c:v>
                </c:pt>
                <c:pt idx="260">
                  <c:v>13.765922647681354</c:v>
                </c:pt>
                <c:pt idx="261">
                  <c:v>13.994612276313257</c:v>
                </c:pt>
                <c:pt idx="262">
                  <c:v>13.667500481046757</c:v>
                </c:pt>
                <c:pt idx="263">
                  <c:v>13.973734847027131</c:v>
                </c:pt>
                <c:pt idx="264">
                  <c:v>14.417741004425627</c:v>
                </c:pt>
                <c:pt idx="265">
                  <c:v>13.146238214354435</c:v>
                </c:pt>
                <c:pt idx="266">
                  <c:v>13.416009236097748</c:v>
                </c:pt>
                <c:pt idx="267">
                  <c:v>14.135558976332499</c:v>
                </c:pt>
                <c:pt idx="268">
                  <c:v>13.36261304598807</c:v>
                </c:pt>
                <c:pt idx="269">
                  <c:v>13.112661150663845</c:v>
                </c:pt>
                <c:pt idx="270">
                  <c:v>12.340869732538001</c:v>
                </c:pt>
                <c:pt idx="271">
                  <c:v>12.703578987877622</c:v>
                </c:pt>
                <c:pt idx="272">
                  <c:v>12.783528959014816</c:v>
                </c:pt>
                <c:pt idx="273">
                  <c:v>13.206753896478736</c:v>
                </c:pt>
                <c:pt idx="274">
                  <c:v>12.524918222051182</c:v>
                </c:pt>
                <c:pt idx="275">
                  <c:v>12.845680200115451</c:v>
                </c:pt>
                <c:pt idx="276">
                  <c:v>12.376082355204924</c:v>
                </c:pt>
                <c:pt idx="277">
                  <c:v>11.913892630363669</c:v>
                </c:pt>
                <c:pt idx="278">
                  <c:v>12.311333461612469</c:v>
                </c:pt>
                <c:pt idx="279">
                  <c:v>11.826342120454107</c:v>
                </c:pt>
                <c:pt idx="280">
                  <c:v>11.195208774292862</c:v>
                </c:pt>
                <c:pt idx="281">
                  <c:v>10.570232826630749</c:v>
                </c:pt>
                <c:pt idx="282">
                  <c:v>9.784587261881855</c:v>
                </c:pt>
                <c:pt idx="283">
                  <c:v>9.2099288050798513</c:v>
                </c:pt>
                <c:pt idx="284">
                  <c:v>10.781893400038483</c:v>
                </c:pt>
                <c:pt idx="285">
                  <c:v>10.908601116028477</c:v>
                </c:pt>
                <c:pt idx="286">
                  <c:v>10.494708485664804</c:v>
                </c:pt>
                <c:pt idx="287">
                  <c:v>10.696074658456801</c:v>
                </c:pt>
                <c:pt idx="288">
                  <c:v>10.59986530690783</c:v>
                </c:pt>
                <c:pt idx="289">
                  <c:v>10.095632095439676</c:v>
                </c:pt>
                <c:pt idx="290">
                  <c:v>9.4312103136424863</c:v>
                </c:pt>
                <c:pt idx="291">
                  <c:v>9.3364441023667482</c:v>
                </c:pt>
                <c:pt idx="292">
                  <c:v>9.1918414469886454</c:v>
                </c:pt>
                <c:pt idx="293">
                  <c:v>8.7994997113719453</c:v>
                </c:pt>
                <c:pt idx="294">
                  <c:v>9.1137194535308836</c:v>
                </c:pt>
                <c:pt idx="295">
                  <c:v>8.6537425437752553</c:v>
                </c:pt>
                <c:pt idx="296">
                  <c:v>9.1813546276698084</c:v>
                </c:pt>
                <c:pt idx="297">
                  <c:v>8.5158745430055802</c:v>
                </c:pt>
                <c:pt idx="298">
                  <c:v>8.1612468731960739</c:v>
                </c:pt>
                <c:pt idx="299">
                  <c:v>7.7096401770252063</c:v>
                </c:pt>
                <c:pt idx="300">
                  <c:v>7.2842024244756587</c:v>
                </c:pt>
                <c:pt idx="301">
                  <c:v>7.6084279391956899</c:v>
                </c:pt>
                <c:pt idx="302">
                  <c:v>7.5635943813738686</c:v>
                </c:pt>
                <c:pt idx="303">
                  <c:v>7.1266115066384454</c:v>
                </c:pt>
                <c:pt idx="304">
                  <c:v>7.2832403309601688</c:v>
                </c:pt>
                <c:pt idx="305">
                  <c:v>6.7853569366942459</c:v>
                </c:pt>
                <c:pt idx="306">
                  <c:v>6.6127573600153928</c:v>
                </c:pt>
                <c:pt idx="307">
                  <c:v>6.2727535116413309</c:v>
                </c:pt>
                <c:pt idx="308">
                  <c:v>6.156917452376371</c:v>
                </c:pt>
                <c:pt idx="309">
                  <c:v>6.4520877429286125</c:v>
                </c:pt>
                <c:pt idx="310">
                  <c:v>6.4375601308447177</c:v>
                </c:pt>
                <c:pt idx="311">
                  <c:v>6.2937271502790058</c:v>
                </c:pt>
                <c:pt idx="312">
                  <c:v>6.2103136424860494</c:v>
                </c:pt>
                <c:pt idx="313">
                  <c:v>6.1615355012507207</c:v>
                </c:pt>
                <c:pt idx="314">
                  <c:v>6.1191071772176251</c:v>
                </c:pt>
                <c:pt idx="315">
                  <c:v>5.9258225899557431</c:v>
                </c:pt>
                <c:pt idx="316">
                  <c:v>5.8242255147200304</c:v>
                </c:pt>
                <c:pt idx="317">
                  <c:v>5.5945737925726373</c:v>
                </c:pt>
                <c:pt idx="318">
                  <c:v>5.6225707138733876</c:v>
                </c:pt>
                <c:pt idx="319">
                  <c:v>5.4058110448335581</c:v>
                </c:pt>
                <c:pt idx="320">
                  <c:v>5.4075428131614389</c:v>
                </c:pt>
                <c:pt idx="321">
                  <c:v>5.2410044256301713</c:v>
                </c:pt>
                <c:pt idx="322">
                  <c:v>5.1318068116220887</c:v>
                </c:pt>
                <c:pt idx="323">
                  <c:v>4.9519915335770639</c:v>
                </c:pt>
                <c:pt idx="324">
                  <c:v>4.8172984414085045</c:v>
                </c:pt>
                <c:pt idx="325">
                  <c:v>4.6891475851452755</c:v>
                </c:pt>
                <c:pt idx="326">
                  <c:v>4.5258803155666731</c:v>
                </c:pt>
                <c:pt idx="327">
                  <c:v>4.4186068885895704</c:v>
                </c:pt>
                <c:pt idx="328">
                  <c:v>4.3649220704252452</c:v>
                </c:pt>
                <c:pt idx="329">
                  <c:v>4.544448720415625</c:v>
                </c:pt>
                <c:pt idx="330">
                  <c:v>4.4517029055224162</c:v>
                </c:pt>
                <c:pt idx="331">
                  <c:v>4.574658456802001</c:v>
                </c:pt>
                <c:pt idx="332">
                  <c:v>4.4088897440831252</c:v>
                </c:pt>
                <c:pt idx="333">
                  <c:v>4.2742928612661144</c:v>
                </c:pt>
                <c:pt idx="334">
                  <c:v>4.3919568982105064</c:v>
                </c:pt>
                <c:pt idx="335">
                  <c:v>4.3381758706946316</c:v>
                </c:pt>
                <c:pt idx="336">
                  <c:v>4.2887242639984606</c:v>
                </c:pt>
                <c:pt idx="337">
                  <c:v>4.49432364825861</c:v>
                </c:pt>
                <c:pt idx="338">
                  <c:v>4.6335385799499713</c:v>
                </c:pt>
                <c:pt idx="339">
                  <c:v>4.4876852030017318</c:v>
                </c:pt>
                <c:pt idx="340">
                  <c:v>4.4428516451799114</c:v>
                </c:pt>
                <c:pt idx="341">
                  <c:v>4.500962093515489</c:v>
                </c:pt>
                <c:pt idx="342">
                  <c:v>4.4153357706369052</c:v>
                </c:pt>
                <c:pt idx="343">
                  <c:v>4.4598807004040797</c:v>
                </c:pt>
                <c:pt idx="344">
                  <c:v>4.3114296709640172</c:v>
                </c:pt>
                <c:pt idx="345">
                  <c:v>4.3345199153357701</c:v>
                </c:pt>
                <c:pt idx="346">
                  <c:v>4.3312487973831058</c:v>
                </c:pt>
                <c:pt idx="347">
                  <c:v>4.2350394458341345</c:v>
                </c:pt>
                <c:pt idx="348">
                  <c:v>4.3454877814123529</c:v>
                </c:pt>
                <c:pt idx="349">
                  <c:v>4.2657302289782564</c:v>
                </c:pt>
                <c:pt idx="350">
                  <c:v>4.2214739272657296</c:v>
                </c:pt>
                <c:pt idx="351">
                  <c:v>4.1919376563401958</c:v>
                </c:pt>
                <c:pt idx="352">
                  <c:v>4.1499903790648451</c:v>
                </c:pt>
                <c:pt idx="353">
                  <c:v>4.0280931306522998</c:v>
                </c:pt>
                <c:pt idx="354">
                  <c:v>4.0196267077159895</c:v>
                </c:pt>
                <c:pt idx="355">
                  <c:v>3.983355782182028</c:v>
                </c:pt>
                <c:pt idx="356">
                  <c:v>4.0812969020588792</c:v>
                </c:pt>
                <c:pt idx="357">
                  <c:v>3.9266884741196839</c:v>
                </c:pt>
                <c:pt idx="358">
                  <c:v>3.9960554165864921</c:v>
                </c:pt>
                <c:pt idx="359">
                  <c:v>3.9922070425245328</c:v>
                </c:pt>
                <c:pt idx="360">
                  <c:v>3.8838753126803924</c:v>
                </c:pt>
                <c:pt idx="361">
                  <c:v>3.9705599384260148</c:v>
                </c:pt>
                <c:pt idx="362">
                  <c:v>3.932845872618818</c:v>
                </c:pt>
                <c:pt idx="363">
                  <c:v>4.0127958437560132</c:v>
                </c:pt>
                <c:pt idx="364">
                  <c:v>3.6099672888204735</c:v>
                </c:pt>
                <c:pt idx="365">
                  <c:v>3.7757360015393493</c:v>
                </c:pt>
                <c:pt idx="366">
                  <c:v>3.731575909178372</c:v>
                </c:pt>
                <c:pt idx="367">
                  <c:v>3.8044063883009427</c:v>
                </c:pt>
                <c:pt idx="368">
                  <c:v>3.731094862420627</c:v>
                </c:pt>
                <c:pt idx="369">
                  <c:v>3.5709062920915913</c:v>
                </c:pt>
                <c:pt idx="370">
                  <c:v>3.7505291514335188</c:v>
                </c:pt>
                <c:pt idx="371">
                  <c:v>3.6111218010390607</c:v>
                </c:pt>
                <c:pt idx="372">
                  <c:v>3.6099672888204735</c:v>
                </c:pt>
                <c:pt idx="373">
                  <c:v>3.5315566673080618</c:v>
                </c:pt>
                <c:pt idx="374">
                  <c:v>3.3089282278237442</c:v>
                </c:pt>
                <c:pt idx="375">
                  <c:v>3.1770252068501059</c:v>
                </c:pt>
                <c:pt idx="376">
                  <c:v>3.1000577256109292</c:v>
                </c:pt>
                <c:pt idx="377">
                  <c:v>2.924764287088705</c:v>
                </c:pt>
                <c:pt idx="378">
                  <c:v>2.944487204156244</c:v>
                </c:pt>
                <c:pt idx="379">
                  <c:v>3.1033288435635944</c:v>
                </c:pt>
                <c:pt idx="380">
                  <c:v>3.4264960554165858</c:v>
                </c:pt>
                <c:pt idx="381">
                  <c:v>3.4444872041562435</c:v>
                </c:pt>
                <c:pt idx="382">
                  <c:v>3.4753704060034636</c:v>
                </c:pt>
                <c:pt idx="383">
                  <c:v>3.182605349239946</c:v>
                </c:pt>
                <c:pt idx="384">
                  <c:v>3.2705406965557051</c:v>
                </c:pt>
                <c:pt idx="385">
                  <c:v>3.1930921685587834</c:v>
                </c:pt>
                <c:pt idx="386">
                  <c:v>3.1660573407735226</c:v>
                </c:pt>
                <c:pt idx="387">
                  <c:v>3.4000384837406195</c:v>
                </c:pt>
                <c:pt idx="388">
                  <c:v>3.3287473542428323</c:v>
                </c:pt>
                <c:pt idx="389">
                  <c:v>3.2745814893207621</c:v>
                </c:pt>
                <c:pt idx="390">
                  <c:v>3.3591495093323069</c:v>
                </c:pt>
                <c:pt idx="391">
                  <c:v>3.3812776601885699</c:v>
                </c:pt>
                <c:pt idx="392">
                  <c:v>3.3296132384067727</c:v>
                </c:pt>
                <c:pt idx="393">
                  <c:v>3.0592649605541657</c:v>
                </c:pt>
                <c:pt idx="394">
                  <c:v>3.083702135847604</c:v>
                </c:pt>
                <c:pt idx="395">
                  <c:v>2.9790263613623238</c:v>
                </c:pt>
                <c:pt idx="396">
                  <c:v>2.8369251491244949</c:v>
                </c:pt>
                <c:pt idx="397">
                  <c:v>2.7791033288435636</c:v>
                </c:pt>
                <c:pt idx="398">
                  <c:v>2.8619395805272272</c:v>
                </c:pt>
                <c:pt idx="399">
                  <c:v>2.6719261112180104</c:v>
                </c:pt>
                <c:pt idx="400">
                  <c:v>2.6332499518953241</c:v>
                </c:pt>
                <c:pt idx="401">
                  <c:v>2.6839522801616318</c:v>
                </c:pt>
                <c:pt idx="402">
                  <c:v>2.6160284779680585</c:v>
                </c:pt>
                <c:pt idx="403">
                  <c:v>2.5160669617086775</c:v>
                </c:pt>
                <c:pt idx="404">
                  <c:v>2.6170867808350966</c:v>
                </c:pt>
                <c:pt idx="405">
                  <c:v>2.6313257648643447</c:v>
                </c:pt>
                <c:pt idx="406">
                  <c:v>2.522224360207812</c:v>
                </c:pt>
                <c:pt idx="407">
                  <c:v>2.5142389840292476</c:v>
                </c:pt>
                <c:pt idx="408">
                  <c:v>2.4907639022512984</c:v>
                </c:pt>
                <c:pt idx="409">
                  <c:v>2.576678853184529</c:v>
                </c:pt>
                <c:pt idx="410">
                  <c:v>2.473253800269386</c:v>
                </c:pt>
                <c:pt idx="411">
                  <c:v>2.3771406580719643</c:v>
                </c:pt>
                <c:pt idx="412">
                  <c:v>2.2157013661727918</c:v>
                </c:pt>
                <c:pt idx="413">
                  <c:v>2.4224552626515297</c:v>
                </c:pt>
                <c:pt idx="414">
                  <c:v>3.096305560900519</c:v>
                </c:pt>
                <c:pt idx="415">
                  <c:v>3.1729844140850489</c:v>
                </c:pt>
                <c:pt idx="416">
                  <c:v>3.0658071964594962</c:v>
                </c:pt>
                <c:pt idx="417">
                  <c:v>2.924764287088705</c:v>
                </c:pt>
                <c:pt idx="418">
                  <c:v>2.7910332884356359</c:v>
                </c:pt>
                <c:pt idx="419">
                  <c:v>2.7742928612661149</c:v>
                </c:pt>
                <c:pt idx="420">
                  <c:v>2.8064267846834707</c:v>
                </c:pt>
                <c:pt idx="421">
                  <c:v>2.7342697710217432</c:v>
                </c:pt>
                <c:pt idx="422">
                  <c:v>2.6369059072541847</c:v>
                </c:pt>
                <c:pt idx="423">
                  <c:v>2.3299018664614199</c:v>
                </c:pt>
                <c:pt idx="424">
                  <c:v>2.3977294593034442</c:v>
                </c:pt>
                <c:pt idx="425">
                  <c:v>2.3473157590917832</c:v>
                </c:pt>
                <c:pt idx="426">
                  <c:v>2.2255147200307865</c:v>
                </c:pt>
                <c:pt idx="427">
                  <c:v>2.4334231287281121</c:v>
                </c:pt>
                <c:pt idx="428">
                  <c:v>2.2716952087742928</c:v>
                </c:pt>
                <c:pt idx="429">
                  <c:v>2.4133153742543776</c:v>
                </c:pt>
                <c:pt idx="430">
                  <c:v>2.3797383105637864</c:v>
                </c:pt>
                <c:pt idx="431">
                  <c:v>2.2659226476813545</c:v>
                </c:pt>
                <c:pt idx="432">
                  <c:v>2.2984414085049067</c:v>
                </c:pt>
                <c:pt idx="433">
                  <c:v>2.1831826053492396</c:v>
                </c:pt>
                <c:pt idx="434">
                  <c:v>2.0375216471040982</c:v>
                </c:pt>
                <c:pt idx="435">
                  <c:v>2.0327111795266499</c:v>
                </c:pt>
                <c:pt idx="436">
                  <c:v>1.9450644602655376</c:v>
                </c:pt>
                <c:pt idx="437">
                  <c:v>1.8262459111025591</c:v>
                </c:pt>
                <c:pt idx="438">
                  <c:v>1.7517798730036558</c:v>
                </c:pt>
                <c:pt idx="439">
                  <c:v>1.8147969982682315</c:v>
                </c:pt>
                <c:pt idx="440">
                  <c:v>1.8368289397729458</c:v>
                </c:pt>
                <c:pt idx="441">
                  <c:v>1.8457764094669999</c:v>
                </c:pt>
                <c:pt idx="442">
                  <c:v>1.823648258610737</c:v>
                </c:pt>
                <c:pt idx="443">
                  <c:v>1.7301327689051378</c:v>
                </c:pt>
                <c:pt idx="444">
                  <c:v>1.738118145083702</c:v>
                </c:pt>
                <c:pt idx="445">
                  <c:v>1.7431210313642487</c:v>
                </c:pt>
                <c:pt idx="446">
                  <c:v>1.7282085818741582</c:v>
                </c:pt>
                <c:pt idx="447">
                  <c:v>1.6090051953049835</c:v>
                </c:pt>
                <c:pt idx="448">
                  <c:v>1.5737925726380604</c:v>
                </c:pt>
                <c:pt idx="449">
                  <c:v>1.5979411198768521</c:v>
                </c:pt>
                <c:pt idx="450">
                  <c:v>1.5980373292284009</c:v>
                </c:pt>
                <c:pt idx="451">
                  <c:v>1.6036174716182412</c:v>
                </c:pt>
                <c:pt idx="452">
                  <c:v>1.4494900904367902</c:v>
                </c:pt>
                <c:pt idx="453">
                  <c:v>1.473734847027131</c:v>
                </c:pt>
                <c:pt idx="454">
                  <c:v>1.4484317875697519</c:v>
                </c:pt>
                <c:pt idx="455">
                  <c:v>1.539830671541274</c:v>
                </c:pt>
                <c:pt idx="456">
                  <c:v>1.5314604579565132</c:v>
                </c:pt>
                <c:pt idx="457">
                  <c:v>1.5110640754281315</c:v>
                </c:pt>
                <c:pt idx="458">
                  <c:v>1.5721570136617278</c:v>
                </c:pt>
                <c:pt idx="459">
                  <c:v>1.5867808350971715</c:v>
                </c:pt>
                <c:pt idx="460">
                  <c:v>1.60092360977487</c:v>
                </c:pt>
                <c:pt idx="461">
                  <c:v>1.5735039445834136</c:v>
                </c:pt>
                <c:pt idx="462">
                  <c:v>1.5977487011737539</c:v>
                </c:pt>
                <c:pt idx="463">
                  <c:v>1.581681739465076</c:v>
                </c:pt>
                <c:pt idx="464">
                  <c:v>1.5639792187800654</c:v>
                </c:pt>
                <c:pt idx="465">
                  <c:v>1.6128535693669421</c:v>
                </c:pt>
                <c:pt idx="466">
                  <c:v>1.5623436598037326</c:v>
                </c:pt>
                <c:pt idx="467">
                  <c:v>1.5819703675197228</c:v>
                </c:pt>
                <c:pt idx="468">
                  <c:v>1.4716182412930536</c:v>
                </c:pt>
                <c:pt idx="469">
                  <c:v>1.4244756590340579</c:v>
                </c:pt>
                <c:pt idx="470">
                  <c:v>1.3979218780065423</c:v>
                </c:pt>
                <c:pt idx="471">
                  <c:v>1.3530883201847217</c:v>
                </c:pt>
                <c:pt idx="472">
                  <c:v>1.3327881470078891</c:v>
                </c:pt>
                <c:pt idx="473">
                  <c:v>1.2865114489128342</c:v>
                </c:pt>
                <c:pt idx="474">
                  <c:v>1.1585530113527034</c:v>
                </c:pt>
                <c:pt idx="475">
                  <c:v>1.1497979603617472</c:v>
                </c:pt>
                <c:pt idx="476">
                  <c:v>1.0303059457379256</c:v>
                </c:pt>
                <c:pt idx="477">
                  <c:v>1.0545507023282661</c:v>
                </c:pt>
                <c:pt idx="478">
                  <c:v>1.0763902251298825</c:v>
                </c:pt>
                <c:pt idx="479">
                  <c:v>1.1202616894362132</c:v>
                </c:pt>
                <c:pt idx="480">
                  <c:v>1.0771598999422742</c:v>
                </c:pt>
                <c:pt idx="481">
                  <c:v>1.0882239753704059</c:v>
                </c:pt>
                <c:pt idx="482">
                  <c:v>1.1583605926496054</c:v>
                </c:pt>
                <c:pt idx="483">
                  <c:v>1.179045603232634</c:v>
                </c:pt>
                <c:pt idx="484">
                  <c:v>1.2156051568212429</c:v>
                </c:pt>
                <c:pt idx="485">
                  <c:v>1.1726957860304021</c:v>
                </c:pt>
                <c:pt idx="486">
                  <c:v>1.11776024629594</c:v>
                </c:pt>
                <c:pt idx="487">
                  <c:v>1.1813546276698095</c:v>
                </c:pt>
                <c:pt idx="488">
                  <c:v>1.2595728304791223</c:v>
                </c:pt>
                <c:pt idx="489">
                  <c:v>1.2623629016740427</c:v>
                </c:pt>
                <c:pt idx="490">
                  <c:v>1.2756397921878004</c:v>
                </c:pt>
                <c:pt idx="491">
                  <c:v>1.277756397921878</c:v>
                </c:pt>
                <c:pt idx="492">
                  <c:v>1.3084471810659994</c:v>
                </c:pt>
                <c:pt idx="493">
                  <c:v>1.2629401577833366</c:v>
                </c:pt>
                <c:pt idx="494">
                  <c:v>1.2463921493169134</c:v>
                </c:pt>
                <c:pt idx="495">
                  <c:v>1.3061381566288242</c:v>
                </c:pt>
                <c:pt idx="496">
                  <c:v>1.3519338079661343</c:v>
                </c:pt>
                <c:pt idx="497">
                  <c:v>1.2263806041947276</c:v>
                </c:pt>
                <c:pt idx="498">
                  <c:v>1.2070425245333847</c:v>
                </c:pt>
                <c:pt idx="499">
                  <c:v>1.1774100442563016</c:v>
                </c:pt>
                <c:pt idx="500">
                  <c:v>1.1705791802963248</c:v>
                </c:pt>
                <c:pt idx="501">
                  <c:v>1.0990956320954397</c:v>
                </c:pt>
                <c:pt idx="502">
                  <c:v>1.0702328266307484</c:v>
                </c:pt>
                <c:pt idx="503">
                  <c:v>1.0226091976140079</c:v>
                </c:pt>
                <c:pt idx="504">
                  <c:v>0.98220126996344037</c:v>
                </c:pt>
                <c:pt idx="505">
                  <c:v>1.0935154897055992</c:v>
                </c:pt>
                <c:pt idx="506">
                  <c:v>1.0983259572830479</c:v>
                </c:pt>
                <c:pt idx="507">
                  <c:v>1.0384837406195881</c:v>
                </c:pt>
                <c:pt idx="508">
                  <c:v>1.0213584760438714</c:v>
                </c:pt>
                <c:pt idx="509">
                  <c:v>0.97960361747161817</c:v>
                </c:pt>
                <c:pt idx="510">
                  <c:v>1.0517606311333461</c:v>
                </c:pt>
                <c:pt idx="511">
                  <c:v>1.0517606311333461</c:v>
                </c:pt>
                <c:pt idx="512">
                  <c:v>0.99874927842986339</c:v>
                </c:pt>
                <c:pt idx="513">
                  <c:v>0.99009043679045583</c:v>
                </c:pt>
                <c:pt idx="514">
                  <c:v>0.95324225514720029</c:v>
                </c:pt>
                <c:pt idx="515">
                  <c:v>0.97902636136232446</c:v>
                </c:pt>
                <c:pt idx="516">
                  <c:v>0.97739080238599185</c:v>
                </c:pt>
                <c:pt idx="517">
                  <c:v>0.92630363671348859</c:v>
                </c:pt>
                <c:pt idx="518">
                  <c:v>0.96142005002886277</c:v>
                </c:pt>
                <c:pt idx="519">
                  <c:v>0.92466807773715598</c:v>
                </c:pt>
                <c:pt idx="520">
                  <c:v>0.91110255916875127</c:v>
                </c:pt>
                <c:pt idx="521">
                  <c:v>0.89619010967866075</c:v>
                </c:pt>
                <c:pt idx="522">
                  <c:v>0.98653069078314415</c:v>
                </c:pt>
                <c:pt idx="523">
                  <c:v>0.99374639214931682</c:v>
                </c:pt>
                <c:pt idx="524">
                  <c:v>0.96863575139503566</c:v>
                </c:pt>
                <c:pt idx="525">
                  <c:v>0.9190879353473157</c:v>
                </c:pt>
                <c:pt idx="526">
                  <c:v>0.93553973446218963</c:v>
                </c:pt>
                <c:pt idx="527">
                  <c:v>0.93159515104868185</c:v>
                </c:pt>
                <c:pt idx="528">
                  <c:v>0.85828362516836632</c:v>
                </c:pt>
                <c:pt idx="529">
                  <c:v>0.83740619588223975</c:v>
                </c:pt>
                <c:pt idx="530">
                  <c:v>0.8586684625745622</c:v>
                </c:pt>
                <c:pt idx="531">
                  <c:v>0.91495093323070997</c:v>
                </c:pt>
                <c:pt idx="532">
                  <c:v>0.91235328073888777</c:v>
                </c:pt>
                <c:pt idx="533">
                  <c:v>0.88839715220319404</c:v>
                </c:pt>
                <c:pt idx="534">
                  <c:v>0.92870887050221274</c:v>
                </c:pt>
                <c:pt idx="535">
                  <c:v>0.93101789493938802</c:v>
                </c:pt>
                <c:pt idx="536">
                  <c:v>0.95102944006157386</c:v>
                </c:pt>
                <c:pt idx="537">
                  <c:v>0.96671156436405614</c:v>
                </c:pt>
                <c:pt idx="538">
                  <c:v>0.92476428708870506</c:v>
                </c:pt>
                <c:pt idx="539">
                  <c:v>0.94708485664806619</c:v>
                </c:pt>
                <c:pt idx="540">
                  <c:v>0.94689243794496825</c:v>
                </c:pt>
                <c:pt idx="541">
                  <c:v>0.96036174716182399</c:v>
                </c:pt>
                <c:pt idx="542">
                  <c:v>0.98162401385414655</c:v>
                </c:pt>
                <c:pt idx="543">
                  <c:v>1.0338656917452376</c:v>
                </c:pt>
                <c:pt idx="544">
                  <c:v>0.98229747931498923</c:v>
                </c:pt>
                <c:pt idx="545">
                  <c:v>0.98999422743890708</c:v>
                </c:pt>
                <c:pt idx="546">
                  <c:v>1.0125072157013661</c:v>
                </c:pt>
                <c:pt idx="547">
                  <c:v>0.99009043679045583</c:v>
                </c:pt>
                <c:pt idx="548">
                  <c:v>0.99518953242255137</c:v>
                </c:pt>
                <c:pt idx="549">
                  <c:v>1.003271117952665</c:v>
                </c:pt>
                <c:pt idx="550">
                  <c:v>0.96382528381758714</c:v>
                </c:pt>
                <c:pt idx="551">
                  <c:v>0.9778718491437367</c:v>
                </c:pt>
                <c:pt idx="552">
                  <c:v>0.98874350586877036</c:v>
                </c:pt>
                <c:pt idx="553">
                  <c:v>0.95930344429478531</c:v>
                </c:pt>
                <c:pt idx="554">
                  <c:v>0.97036751972291702</c:v>
                </c:pt>
                <c:pt idx="555">
                  <c:v>0.86771214162016541</c:v>
                </c:pt>
                <c:pt idx="556">
                  <c:v>0.87781412353280719</c:v>
                </c:pt>
                <c:pt idx="557">
                  <c:v>0.85664806619203382</c:v>
                </c:pt>
                <c:pt idx="558">
                  <c:v>0.80690783144121614</c:v>
                </c:pt>
                <c:pt idx="559">
                  <c:v>0.83586684625745611</c:v>
                </c:pt>
                <c:pt idx="560">
                  <c:v>0.85385799499711368</c:v>
                </c:pt>
                <c:pt idx="561">
                  <c:v>0.91581681739465071</c:v>
                </c:pt>
                <c:pt idx="562">
                  <c:v>0.87694823936886668</c:v>
                </c:pt>
                <c:pt idx="563">
                  <c:v>0.83990763902251286</c:v>
                </c:pt>
                <c:pt idx="564">
                  <c:v>0.80200115451221854</c:v>
                </c:pt>
                <c:pt idx="565">
                  <c:v>0.78497209928805078</c:v>
                </c:pt>
                <c:pt idx="566">
                  <c:v>0.74061958822397544</c:v>
                </c:pt>
                <c:pt idx="567">
                  <c:v>0.65961131421974206</c:v>
                </c:pt>
                <c:pt idx="568">
                  <c:v>0.67317683278814699</c:v>
                </c:pt>
                <c:pt idx="569">
                  <c:v>0.71098710794689246</c:v>
                </c:pt>
                <c:pt idx="570">
                  <c:v>0.61131421974215894</c:v>
                </c:pt>
                <c:pt idx="571">
                  <c:v>0.69415047142582265</c:v>
                </c:pt>
                <c:pt idx="572">
                  <c:v>0.76303636713488543</c:v>
                </c:pt>
                <c:pt idx="573">
                  <c:v>0.82740042332114672</c:v>
                </c:pt>
                <c:pt idx="574">
                  <c:v>0.83971522031941503</c:v>
                </c:pt>
                <c:pt idx="575">
                  <c:v>0.86886665383875306</c:v>
                </c:pt>
                <c:pt idx="576">
                  <c:v>0.9041754858572254</c:v>
                </c:pt>
                <c:pt idx="577">
                  <c:v>0.92572638060419465</c:v>
                </c:pt>
                <c:pt idx="578">
                  <c:v>0.92909370790840851</c:v>
                </c:pt>
                <c:pt idx="579">
                  <c:v>0.93852222436020771</c:v>
                </c:pt>
                <c:pt idx="580">
                  <c:v>0.92322493746392142</c:v>
                </c:pt>
                <c:pt idx="581">
                  <c:v>1.041851067923802</c:v>
                </c:pt>
                <c:pt idx="582">
                  <c:v>1.0431979988454878</c:v>
                </c:pt>
                <c:pt idx="583">
                  <c:v>1.002982489898018</c:v>
                </c:pt>
                <c:pt idx="584">
                  <c:v>1.0411776024629593</c:v>
                </c:pt>
                <c:pt idx="585">
                  <c:v>1.0030786992495671</c:v>
                </c:pt>
                <c:pt idx="586">
                  <c:v>1.0097171445064461</c:v>
                </c:pt>
                <c:pt idx="587">
                  <c:v>1.0291514335193379</c:v>
                </c:pt>
                <c:pt idx="588">
                  <c:v>1.0729266884741195</c:v>
                </c:pt>
                <c:pt idx="589">
                  <c:v>1.0744660380989033</c:v>
                </c:pt>
                <c:pt idx="590">
                  <c:v>1.1163171060227053</c:v>
                </c:pt>
                <c:pt idx="591">
                  <c:v>1.1357513950355975</c:v>
                </c:pt>
                <c:pt idx="592">
                  <c:v>1.1224745045218394</c:v>
                </c:pt>
                <c:pt idx="593">
                  <c:v>1.0735039445834134</c:v>
                </c:pt>
                <c:pt idx="594">
                  <c:v>1.0635943813738695</c:v>
                </c:pt>
                <c:pt idx="595">
                  <c:v>1.0687896863575139</c:v>
                </c:pt>
                <c:pt idx="596">
                  <c:v>1.0331922262843949</c:v>
                </c:pt>
                <c:pt idx="597">
                  <c:v>1.0307869924956705</c:v>
                </c:pt>
                <c:pt idx="598">
                  <c:v>1.0537810275158743</c:v>
                </c:pt>
                <c:pt idx="599">
                  <c:v>1.0358860881277661</c:v>
                </c:pt>
                <c:pt idx="600">
                  <c:v>1.0313642486049646</c:v>
                </c:pt>
                <c:pt idx="601">
                  <c:v>1.0253030594573791</c:v>
                </c:pt>
                <c:pt idx="602">
                  <c:v>1</c:v>
                </c:pt>
              </c:numCache>
            </c:numRef>
          </c:val>
          <c:smooth val="0"/>
          <c:extLst>
            <c:ext xmlns:c16="http://schemas.microsoft.com/office/drawing/2014/chart" uri="{C3380CC4-5D6E-409C-BE32-E72D297353CC}">
              <c16:uniqueId val="{00000000-AB46-4AE6-BDC5-D83C377C9628}"/>
            </c:ext>
          </c:extLst>
        </c:ser>
        <c:ser>
          <c:idx val="1"/>
          <c:order val="1"/>
          <c:tx>
            <c:strRef>
              <c:f>GOTH!$C$1</c:f>
              <c:strCache>
                <c:ptCount val="1"/>
                <c:pt idx="0">
                  <c:v>NAREIT</c:v>
                </c:pt>
              </c:strCache>
            </c:strRef>
          </c:tx>
          <c:spPr>
            <a:ln w="28575" cap="rnd">
              <a:solidFill>
                <a:srgbClr val="002F56"/>
              </a:solidFill>
              <a:round/>
            </a:ln>
            <a:effectLst/>
          </c:spPr>
          <c:marker>
            <c:symbol val="none"/>
          </c:marker>
          <c:cat>
            <c:numRef>
              <c:f>GOTH!$A$2:$A$604</c:f>
              <c:numCache>
                <c:formatCode>m/d/yyyy</c:formatCode>
                <c:ptCount val="603"/>
                <c:pt idx="0">
                  <c:v>44593</c:v>
                </c:pt>
                <c:pt idx="1">
                  <c:v>44562</c:v>
                </c:pt>
                <c:pt idx="2">
                  <c:v>44531</c:v>
                </c:pt>
                <c:pt idx="3">
                  <c:v>44501</c:v>
                </c:pt>
                <c:pt idx="4">
                  <c:v>44470</c:v>
                </c:pt>
                <c:pt idx="5">
                  <c:v>44440</c:v>
                </c:pt>
                <c:pt idx="6">
                  <c:v>44409</c:v>
                </c:pt>
                <c:pt idx="7">
                  <c:v>44378</c:v>
                </c:pt>
                <c:pt idx="8">
                  <c:v>44348</c:v>
                </c:pt>
                <c:pt idx="9">
                  <c:v>44317</c:v>
                </c:pt>
                <c:pt idx="10">
                  <c:v>44287</c:v>
                </c:pt>
                <c:pt idx="11">
                  <c:v>44256</c:v>
                </c:pt>
                <c:pt idx="12">
                  <c:v>44228</c:v>
                </c:pt>
                <c:pt idx="13">
                  <c:v>44197</c:v>
                </c:pt>
                <c:pt idx="14">
                  <c:v>44166</c:v>
                </c:pt>
                <c:pt idx="15">
                  <c:v>44136</c:v>
                </c:pt>
                <c:pt idx="16">
                  <c:v>44105</c:v>
                </c:pt>
                <c:pt idx="17">
                  <c:v>44075</c:v>
                </c:pt>
                <c:pt idx="18">
                  <c:v>44044</c:v>
                </c:pt>
                <c:pt idx="19">
                  <c:v>44013</c:v>
                </c:pt>
                <c:pt idx="20">
                  <c:v>43983</c:v>
                </c:pt>
                <c:pt idx="21">
                  <c:v>43952</c:v>
                </c:pt>
                <c:pt idx="22">
                  <c:v>43922</c:v>
                </c:pt>
                <c:pt idx="23">
                  <c:v>43891</c:v>
                </c:pt>
                <c:pt idx="24">
                  <c:v>43862</c:v>
                </c:pt>
                <c:pt idx="25">
                  <c:v>43831</c:v>
                </c:pt>
                <c:pt idx="26">
                  <c:v>43800</c:v>
                </c:pt>
                <c:pt idx="27">
                  <c:v>43770</c:v>
                </c:pt>
                <c:pt idx="28">
                  <c:v>43739</c:v>
                </c:pt>
                <c:pt idx="29">
                  <c:v>43709</c:v>
                </c:pt>
                <c:pt idx="30">
                  <c:v>43678</c:v>
                </c:pt>
                <c:pt idx="31">
                  <c:v>43647</c:v>
                </c:pt>
                <c:pt idx="32">
                  <c:v>43617</c:v>
                </c:pt>
                <c:pt idx="33">
                  <c:v>43586</c:v>
                </c:pt>
                <c:pt idx="34">
                  <c:v>43556</c:v>
                </c:pt>
                <c:pt idx="35">
                  <c:v>43525</c:v>
                </c:pt>
                <c:pt idx="36">
                  <c:v>43497</c:v>
                </c:pt>
                <c:pt idx="37">
                  <c:v>43466</c:v>
                </c:pt>
                <c:pt idx="38">
                  <c:v>43435</c:v>
                </c:pt>
                <c:pt idx="39">
                  <c:v>43405</c:v>
                </c:pt>
                <c:pt idx="40">
                  <c:v>43374</c:v>
                </c:pt>
                <c:pt idx="41">
                  <c:v>43344</c:v>
                </c:pt>
                <c:pt idx="42">
                  <c:v>43313</c:v>
                </c:pt>
                <c:pt idx="43">
                  <c:v>43282</c:v>
                </c:pt>
                <c:pt idx="44">
                  <c:v>43252</c:v>
                </c:pt>
                <c:pt idx="45">
                  <c:v>43221</c:v>
                </c:pt>
                <c:pt idx="46">
                  <c:v>43191</c:v>
                </c:pt>
                <c:pt idx="47">
                  <c:v>43160</c:v>
                </c:pt>
                <c:pt idx="48">
                  <c:v>43132</c:v>
                </c:pt>
                <c:pt idx="49">
                  <c:v>43101</c:v>
                </c:pt>
                <c:pt idx="50">
                  <c:v>43070</c:v>
                </c:pt>
                <c:pt idx="51">
                  <c:v>43040</c:v>
                </c:pt>
                <c:pt idx="52">
                  <c:v>43009</c:v>
                </c:pt>
                <c:pt idx="53">
                  <c:v>42979</c:v>
                </c:pt>
                <c:pt idx="54">
                  <c:v>42948</c:v>
                </c:pt>
                <c:pt idx="55">
                  <c:v>42917</c:v>
                </c:pt>
                <c:pt idx="56">
                  <c:v>42887</c:v>
                </c:pt>
                <c:pt idx="57">
                  <c:v>42856</c:v>
                </c:pt>
                <c:pt idx="58">
                  <c:v>42826</c:v>
                </c:pt>
                <c:pt idx="59">
                  <c:v>42795</c:v>
                </c:pt>
                <c:pt idx="60">
                  <c:v>42767</c:v>
                </c:pt>
                <c:pt idx="61">
                  <c:v>42736</c:v>
                </c:pt>
                <c:pt idx="62">
                  <c:v>42705</c:v>
                </c:pt>
                <c:pt idx="63">
                  <c:v>42675</c:v>
                </c:pt>
                <c:pt idx="64">
                  <c:v>42644</c:v>
                </c:pt>
                <c:pt idx="65">
                  <c:v>42614</c:v>
                </c:pt>
                <c:pt idx="66">
                  <c:v>42583</c:v>
                </c:pt>
                <c:pt idx="67">
                  <c:v>42552</c:v>
                </c:pt>
                <c:pt idx="68">
                  <c:v>42522</c:v>
                </c:pt>
                <c:pt idx="69">
                  <c:v>42491</c:v>
                </c:pt>
                <c:pt idx="70">
                  <c:v>42461</c:v>
                </c:pt>
                <c:pt idx="71">
                  <c:v>42430</c:v>
                </c:pt>
                <c:pt idx="72">
                  <c:v>42401</c:v>
                </c:pt>
                <c:pt idx="73">
                  <c:v>42370</c:v>
                </c:pt>
                <c:pt idx="74">
                  <c:v>42339</c:v>
                </c:pt>
                <c:pt idx="75">
                  <c:v>42309</c:v>
                </c:pt>
                <c:pt idx="76">
                  <c:v>42278</c:v>
                </c:pt>
                <c:pt idx="77">
                  <c:v>42248</c:v>
                </c:pt>
                <c:pt idx="78">
                  <c:v>42217</c:v>
                </c:pt>
                <c:pt idx="79">
                  <c:v>42186</c:v>
                </c:pt>
                <c:pt idx="80">
                  <c:v>42156</c:v>
                </c:pt>
                <c:pt idx="81">
                  <c:v>42125</c:v>
                </c:pt>
                <c:pt idx="82">
                  <c:v>42095</c:v>
                </c:pt>
                <c:pt idx="83">
                  <c:v>42064</c:v>
                </c:pt>
                <c:pt idx="84">
                  <c:v>42036</c:v>
                </c:pt>
                <c:pt idx="85">
                  <c:v>42005</c:v>
                </c:pt>
                <c:pt idx="86">
                  <c:v>41974</c:v>
                </c:pt>
                <c:pt idx="87">
                  <c:v>41944</c:v>
                </c:pt>
                <c:pt idx="88">
                  <c:v>41913</c:v>
                </c:pt>
                <c:pt idx="89">
                  <c:v>41883</c:v>
                </c:pt>
                <c:pt idx="90">
                  <c:v>41852</c:v>
                </c:pt>
                <c:pt idx="91">
                  <c:v>41821</c:v>
                </c:pt>
                <c:pt idx="92">
                  <c:v>41791</c:v>
                </c:pt>
                <c:pt idx="93">
                  <c:v>41760</c:v>
                </c:pt>
                <c:pt idx="94">
                  <c:v>41730</c:v>
                </c:pt>
                <c:pt idx="95">
                  <c:v>41699</c:v>
                </c:pt>
                <c:pt idx="96">
                  <c:v>41671</c:v>
                </c:pt>
                <c:pt idx="97">
                  <c:v>41640</c:v>
                </c:pt>
                <c:pt idx="98">
                  <c:v>41609</c:v>
                </c:pt>
                <c:pt idx="99">
                  <c:v>41579</c:v>
                </c:pt>
                <c:pt idx="100">
                  <c:v>41548</c:v>
                </c:pt>
                <c:pt idx="101">
                  <c:v>41518</c:v>
                </c:pt>
                <c:pt idx="102">
                  <c:v>41487</c:v>
                </c:pt>
                <c:pt idx="103">
                  <c:v>41456</c:v>
                </c:pt>
                <c:pt idx="104">
                  <c:v>41426</c:v>
                </c:pt>
                <c:pt idx="105">
                  <c:v>41395</c:v>
                </c:pt>
                <c:pt idx="106">
                  <c:v>41365</c:v>
                </c:pt>
                <c:pt idx="107">
                  <c:v>41334</c:v>
                </c:pt>
                <c:pt idx="108">
                  <c:v>41306</c:v>
                </c:pt>
                <c:pt idx="109">
                  <c:v>41275</c:v>
                </c:pt>
                <c:pt idx="110">
                  <c:v>41244</c:v>
                </c:pt>
                <c:pt idx="111">
                  <c:v>41214</c:v>
                </c:pt>
                <c:pt idx="112">
                  <c:v>41183</c:v>
                </c:pt>
                <c:pt idx="113">
                  <c:v>41153</c:v>
                </c:pt>
                <c:pt idx="114">
                  <c:v>41122</c:v>
                </c:pt>
                <c:pt idx="115">
                  <c:v>41091</c:v>
                </c:pt>
                <c:pt idx="116">
                  <c:v>41061</c:v>
                </c:pt>
                <c:pt idx="117">
                  <c:v>41030</c:v>
                </c:pt>
                <c:pt idx="118">
                  <c:v>41000</c:v>
                </c:pt>
                <c:pt idx="119">
                  <c:v>40969</c:v>
                </c:pt>
                <c:pt idx="120">
                  <c:v>40940</c:v>
                </c:pt>
                <c:pt idx="121">
                  <c:v>40909</c:v>
                </c:pt>
                <c:pt idx="122">
                  <c:v>40878</c:v>
                </c:pt>
                <c:pt idx="123">
                  <c:v>40848</c:v>
                </c:pt>
                <c:pt idx="124">
                  <c:v>40817</c:v>
                </c:pt>
                <c:pt idx="125">
                  <c:v>40787</c:v>
                </c:pt>
                <c:pt idx="126">
                  <c:v>40756</c:v>
                </c:pt>
                <c:pt idx="127">
                  <c:v>40725</c:v>
                </c:pt>
                <c:pt idx="128">
                  <c:v>40695</c:v>
                </c:pt>
                <c:pt idx="129">
                  <c:v>40664</c:v>
                </c:pt>
                <c:pt idx="130">
                  <c:v>40634</c:v>
                </c:pt>
                <c:pt idx="131">
                  <c:v>40603</c:v>
                </c:pt>
                <c:pt idx="132">
                  <c:v>40575</c:v>
                </c:pt>
                <c:pt idx="133">
                  <c:v>40544</c:v>
                </c:pt>
                <c:pt idx="134">
                  <c:v>40513</c:v>
                </c:pt>
                <c:pt idx="135">
                  <c:v>40483</c:v>
                </c:pt>
                <c:pt idx="136">
                  <c:v>40452</c:v>
                </c:pt>
                <c:pt idx="137">
                  <c:v>40422</c:v>
                </c:pt>
                <c:pt idx="138">
                  <c:v>40391</c:v>
                </c:pt>
                <c:pt idx="139">
                  <c:v>40360</c:v>
                </c:pt>
                <c:pt idx="140">
                  <c:v>40330</c:v>
                </c:pt>
                <c:pt idx="141">
                  <c:v>40299</c:v>
                </c:pt>
                <c:pt idx="142">
                  <c:v>40269</c:v>
                </c:pt>
                <c:pt idx="143">
                  <c:v>40238</c:v>
                </c:pt>
                <c:pt idx="144">
                  <c:v>40210</c:v>
                </c:pt>
                <c:pt idx="145">
                  <c:v>40179</c:v>
                </c:pt>
                <c:pt idx="146">
                  <c:v>40148</c:v>
                </c:pt>
                <c:pt idx="147">
                  <c:v>40118</c:v>
                </c:pt>
                <c:pt idx="148">
                  <c:v>40087</c:v>
                </c:pt>
                <c:pt idx="149">
                  <c:v>40057</c:v>
                </c:pt>
                <c:pt idx="150">
                  <c:v>40026</c:v>
                </c:pt>
                <c:pt idx="151">
                  <c:v>39995</c:v>
                </c:pt>
                <c:pt idx="152">
                  <c:v>39965</c:v>
                </c:pt>
                <c:pt idx="153">
                  <c:v>39934</c:v>
                </c:pt>
                <c:pt idx="154">
                  <c:v>39904</c:v>
                </c:pt>
                <c:pt idx="155">
                  <c:v>39873</c:v>
                </c:pt>
                <c:pt idx="156">
                  <c:v>39845</c:v>
                </c:pt>
                <c:pt idx="157">
                  <c:v>39814</c:v>
                </c:pt>
                <c:pt idx="158">
                  <c:v>39783</c:v>
                </c:pt>
                <c:pt idx="159">
                  <c:v>39753</c:v>
                </c:pt>
                <c:pt idx="160">
                  <c:v>39722</c:v>
                </c:pt>
                <c:pt idx="161">
                  <c:v>39692</c:v>
                </c:pt>
                <c:pt idx="162">
                  <c:v>39661</c:v>
                </c:pt>
                <c:pt idx="163">
                  <c:v>39630</c:v>
                </c:pt>
                <c:pt idx="164">
                  <c:v>39600</c:v>
                </c:pt>
                <c:pt idx="165">
                  <c:v>39569</c:v>
                </c:pt>
                <c:pt idx="166">
                  <c:v>39539</c:v>
                </c:pt>
                <c:pt idx="167">
                  <c:v>39508</c:v>
                </c:pt>
                <c:pt idx="168">
                  <c:v>39479</c:v>
                </c:pt>
                <c:pt idx="169">
                  <c:v>39448</c:v>
                </c:pt>
                <c:pt idx="170">
                  <c:v>39417</c:v>
                </c:pt>
                <c:pt idx="171">
                  <c:v>39387</c:v>
                </c:pt>
                <c:pt idx="172">
                  <c:v>39356</c:v>
                </c:pt>
                <c:pt idx="173">
                  <c:v>39326</c:v>
                </c:pt>
                <c:pt idx="174">
                  <c:v>39295</c:v>
                </c:pt>
                <c:pt idx="175">
                  <c:v>39264</c:v>
                </c:pt>
                <c:pt idx="176">
                  <c:v>39234</c:v>
                </c:pt>
                <c:pt idx="177">
                  <c:v>39203</c:v>
                </c:pt>
                <c:pt idx="178">
                  <c:v>39173</c:v>
                </c:pt>
                <c:pt idx="179">
                  <c:v>39142</c:v>
                </c:pt>
                <c:pt idx="180">
                  <c:v>39114</c:v>
                </c:pt>
                <c:pt idx="181">
                  <c:v>39083</c:v>
                </c:pt>
                <c:pt idx="182">
                  <c:v>39052</c:v>
                </c:pt>
                <c:pt idx="183">
                  <c:v>39022</c:v>
                </c:pt>
                <c:pt idx="184">
                  <c:v>38991</c:v>
                </c:pt>
                <c:pt idx="185">
                  <c:v>38961</c:v>
                </c:pt>
                <c:pt idx="186">
                  <c:v>38930</c:v>
                </c:pt>
                <c:pt idx="187">
                  <c:v>38899</c:v>
                </c:pt>
                <c:pt idx="188">
                  <c:v>38869</c:v>
                </c:pt>
                <c:pt idx="189">
                  <c:v>38838</c:v>
                </c:pt>
                <c:pt idx="190">
                  <c:v>38808</c:v>
                </c:pt>
                <c:pt idx="191">
                  <c:v>38777</c:v>
                </c:pt>
                <c:pt idx="192">
                  <c:v>38749</c:v>
                </c:pt>
                <c:pt idx="193">
                  <c:v>38718</c:v>
                </c:pt>
                <c:pt idx="194">
                  <c:v>38687</c:v>
                </c:pt>
                <c:pt idx="195">
                  <c:v>38657</c:v>
                </c:pt>
                <c:pt idx="196">
                  <c:v>38626</c:v>
                </c:pt>
                <c:pt idx="197">
                  <c:v>38596</c:v>
                </c:pt>
                <c:pt idx="198">
                  <c:v>38565</c:v>
                </c:pt>
                <c:pt idx="199">
                  <c:v>38534</c:v>
                </c:pt>
                <c:pt idx="200">
                  <c:v>38504</c:v>
                </c:pt>
                <c:pt idx="201">
                  <c:v>38473</c:v>
                </c:pt>
                <c:pt idx="202">
                  <c:v>38443</c:v>
                </c:pt>
                <c:pt idx="203">
                  <c:v>38412</c:v>
                </c:pt>
                <c:pt idx="204">
                  <c:v>38384</c:v>
                </c:pt>
                <c:pt idx="205">
                  <c:v>38353</c:v>
                </c:pt>
                <c:pt idx="206">
                  <c:v>38322</c:v>
                </c:pt>
                <c:pt idx="207">
                  <c:v>38292</c:v>
                </c:pt>
                <c:pt idx="208">
                  <c:v>38261</c:v>
                </c:pt>
                <c:pt idx="209">
                  <c:v>38231</c:v>
                </c:pt>
                <c:pt idx="210">
                  <c:v>38200</c:v>
                </c:pt>
                <c:pt idx="211">
                  <c:v>38169</c:v>
                </c:pt>
                <c:pt idx="212">
                  <c:v>38139</c:v>
                </c:pt>
                <c:pt idx="213">
                  <c:v>38108</c:v>
                </c:pt>
                <c:pt idx="214">
                  <c:v>38078</c:v>
                </c:pt>
                <c:pt idx="215">
                  <c:v>38047</c:v>
                </c:pt>
                <c:pt idx="216">
                  <c:v>38018</c:v>
                </c:pt>
                <c:pt idx="217">
                  <c:v>37987</c:v>
                </c:pt>
                <c:pt idx="218">
                  <c:v>37956</c:v>
                </c:pt>
                <c:pt idx="219">
                  <c:v>37926</c:v>
                </c:pt>
                <c:pt idx="220">
                  <c:v>37895</c:v>
                </c:pt>
                <c:pt idx="221">
                  <c:v>37865</c:v>
                </c:pt>
                <c:pt idx="222">
                  <c:v>37834</c:v>
                </c:pt>
                <c:pt idx="223">
                  <c:v>37803</c:v>
                </c:pt>
                <c:pt idx="224">
                  <c:v>37773</c:v>
                </c:pt>
                <c:pt idx="225">
                  <c:v>37742</c:v>
                </c:pt>
                <c:pt idx="226">
                  <c:v>37712</c:v>
                </c:pt>
                <c:pt idx="227">
                  <c:v>37681</c:v>
                </c:pt>
                <c:pt idx="228">
                  <c:v>37653</c:v>
                </c:pt>
                <c:pt idx="229">
                  <c:v>37622</c:v>
                </c:pt>
                <c:pt idx="230">
                  <c:v>37591</c:v>
                </c:pt>
                <c:pt idx="231">
                  <c:v>37561</c:v>
                </c:pt>
                <c:pt idx="232">
                  <c:v>37530</c:v>
                </c:pt>
                <c:pt idx="233">
                  <c:v>37500</c:v>
                </c:pt>
                <c:pt idx="234">
                  <c:v>37469</c:v>
                </c:pt>
                <c:pt idx="235">
                  <c:v>37438</c:v>
                </c:pt>
                <c:pt idx="236">
                  <c:v>37408</c:v>
                </c:pt>
                <c:pt idx="237">
                  <c:v>37377</c:v>
                </c:pt>
                <c:pt idx="238">
                  <c:v>37347</c:v>
                </c:pt>
                <c:pt idx="239">
                  <c:v>37316</c:v>
                </c:pt>
                <c:pt idx="240">
                  <c:v>37288</c:v>
                </c:pt>
                <c:pt idx="241">
                  <c:v>37257</c:v>
                </c:pt>
                <c:pt idx="242">
                  <c:v>37226</c:v>
                </c:pt>
                <c:pt idx="243">
                  <c:v>37196</c:v>
                </c:pt>
                <c:pt idx="244">
                  <c:v>37165</c:v>
                </c:pt>
                <c:pt idx="245">
                  <c:v>37135</c:v>
                </c:pt>
                <c:pt idx="246">
                  <c:v>37104</c:v>
                </c:pt>
                <c:pt idx="247">
                  <c:v>37073</c:v>
                </c:pt>
                <c:pt idx="248">
                  <c:v>37043</c:v>
                </c:pt>
                <c:pt idx="249">
                  <c:v>37012</c:v>
                </c:pt>
                <c:pt idx="250">
                  <c:v>36982</c:v>
                </c:pt>
                <c:pt idx="251">
                  <c:v>36951</c:v>
                </c:pt>
                <c:pt idx="252">
                  <c:v>36923</c:v>
                </c:pt>
                <c:pt idx="253">
                  <c:v>36892</c:v>
                </c:pt>
                <c:pt idx="254">
                  <c:v>36861</c:v>
                </c:pt>
                <c:pt idx="255">
                  <c:v>36831</c:v>
                </c:pt>
                <c:pt idx="256">
                  <c:v>36800</c:v>
                </c:pt>
                <c:pt idx="257">
                  <c:v>36770</c:v>
                </c:pt>
                <c:pt idx="258">
                  <c:v>36739</c:v>
                </c:pt>
                <c:pt idx="259">
                  <c:v>36708</c:v>
                </c:pt>
                <c:pt idx="260">
                  <c:v>36678</c:v>
                </c:pt>
                <c:pt idx="261">
                  <c:v>36647</c:v>
                </c:pt>
                <c:pt idx="262">
                  <c:v>36617</c:v>
                </c:pt>
                <c:pt idx="263">
                  <c:v>36586</c:v>
                </c:pt>
                <c:pt idx="264">
                  <c:v>36557</c:v>
                </c:pt>
                <c:pt idx="265">
                  <c:v>36526</c:v>
                </c:pt>
                <c:pt idx="266">
                  <c:v>36495</c:v>
                </c:pt>
                <c:pt idx="267">
                  <c:v>36465</c:v>
                </c:pt>
                <c:pt idx="268">
                  <c:v>36434</c:v>
                </c:pt>
                <c:pt idx="269">
                  <c:v>36404</c:v>
                </c:pt>
                <c:pt idx="270">
                  <c:v>36373</c:v>
                </c:pt>
                <c:pt idx="271">
                  <c:v>36342</c:v>
                </c:pt>
                <c:pt idx="272">
                  <c:v>36312</c:v>
                </c:pt>
                <c:pt idx="273">
                  <c:v>36281</c:v>
                </c:pt>
                <c:pt idx="274">
                  <c:v>36251</c:v>
                </c:pt>
                <c:pt idx="275">
                  <c:v>36220</c:v>
                </c:pt>
                <c:pt idx="276">
                  <c:v>36192</c:v>
                </c:pt>
                <c:pt idx="277">
                  <c:v>36161</c:v>
                </c:pt>
                <c:pt idx="278">
                  <c:v>36130</c:v>
                </c:pt>
                <c:pt idx="279">
                  <c:v>36100</c:v>
                </c:pt>
                <c:pt idx="280">
                  <c:v>36069</c:v>
                </c:pt>
                <c:pt idx="281">
                  <c:v>36039</c:v>
                </c:pt>
                <c:pt idx="282">
                  <c:v>36008</c:v>
                </c:pt>
                <c:pt idx="283">
                  <c:v>35977</c:v>
                </c:pt>
                <c:pt idx="284">
                  <c:v>35947</c:v>
                </c:pt>
                <c:pt idx="285">
                  <c:v>35916</c:v>
                </c:pt>
                <c:pt idx="286">
                  <c:v>35886</c:v>
                </c:pt>
                <c:pt idx="287">
                  <c:v>35855</c:v>
                </c:pt>
                <c:pt idx="288">
                  <c:v>35827</c:v>
                </c:pt>
                <c:pt idx="289">
                  <c:v>35796</c:v>
                </c:pt>
                <c:pt idx="290">
                  <c:v>35765</c:v>
                </c:pt>
                <c:pt idx="291">
                  <c:v>35735</c:v>
                </c:pt>
                <c:pt idx="292">
                  <c:v>35704</c:v>
                </c:pt>
                <c:pt idx="293">
                  <c:v>35674</c:v>
                </c:pt>
                <c:pt idx="294">
                  <c:v>35643</c:v>
                </c:pt>
                <c:pt idx="295">
                  <c:v>35612</c:v>
                </c:pt>
                <c:pt idx="296">
                  <c:v>35582</c:v>
                </c:pt>
                <c:pt idx="297">
                  <c:v>35551</c:v>
                </c:pt>
                <c:pt idx="298">
                  <c:v>35521</c:v>
                </c:pt>
                <c:pt idx="299">
                  <c:v>35490</c:v>
                </c:pt>
                <c:pt idx="300">
                  <c:v>35462</c:v>
                </c:pt>
                <c:pt idx="301">
                  <c:v>35431</c:v>
                </c:pt>
                <c:pt idx="302">
                  <c:v>35400</c:v>
                </c:pt>
                <c:pt idx="303">
                  <c:v>35370</c:v>
                </c:pt>
                <c:pt idx="304">
                  <c:v>35339</c:v>
                </c:pt>
                <c:pt idx="305">
                  <c:v>35309</c:v>
                </c:pt>
                <c:pt idx="306">
                  <c:v>35278</c:v>
                </c:pt>
                <c:pt idx="307">
                  <c:v>35247</c:v>
                </c:pt>
                <c:pt idx="308">
                  <c:v>35217</c:v>
                </c:pt>
                <c:pt idx="309">
                  <c:v>35186</c:v>
                </c:pt>
                <c:pt idx="310">
                  <c:v>35156</c:v>
                </c:pt>
                <c:pt idx="311">
                  <c:v>35125</c:v>
                </c:pt>
                <c:pt idx="312">
                  <c:v>35096</c:v>
                </c:pt>
                <c:pt idx="313">
                  <c:v>35065</c:v>
                </c:pt>
                <c:pt idx="314">
                  <c:v>35034</c:v>
                </c:pt>
                <c:pt idx="315">
                  <c:v>35004</c:v>
                </c:pt>
                <c:pt idx="316">
                  <c:v>34973</c:v>
                </c:pt>
                <c:pt idx="317">
                  <c:v>34943</c:v>
                </c:pt>
                <c:pt idx="318">
                  <c:v>34912</c:v>
                </c:pt>
                <c:pt idx="319">
                  <c:v>34881</c:v>
                </c:pt>
                <c:pt idx="320">
                  <c:v>34851</c:v>
                </c:pt>
                <c:pt idx="321">
                  <c:v>34820</c:v>
                </c:pt>
                <c:pt idx="322">
                  <c:v>34790</c:v>
                </c:pt>
                <c:pt idx="323">
                  <c:v>34759</c:v>
                </c:pt>
                <c:pt idx="324">
                  <c:v>34731</c:v>
                </c:pt>
                <c:pt idx="325">
                  <c:v>34700</c:v>
                </c:pt>
                <c:pt idx="326">
                  <c:v>34669</c:v>
                </c:pt>
                <c:pt idx="327">
                  <c:v>34639</c:v>
                </c:pt>
                <c:pt idx="328">
                  <c:v>34608</c:v>
                </c:pt>
                <c:pt idx="329">
                  <c:v>34578</c:v>
                </c:pt>
                <c:pt idx="330">
                  <c:v>34547</c:v>
                </c:pt>
                <c:pt idx="331">
                  <c:v>34516</c:v>
                </c:pt>
                <c:pt idx="332">
                  <c:v>34486</c:v>
                </c:pt>
                <c:pt idx="333">
                  <c:v>34455</c:v>
                </c:pt>
                <c:pt idx="334">
                  <c:v>34425</c:v>
                </c:pt>
                <c:pt idx="335">
                  <c:v>34394</c:v>
                </c:pt>
                <c:pt idx="336">
                  <c:v>34366</c:v>
                </c:pt>
                <c:pt idx="337">
                  <c:v>34335</c:v>
                </c:pt>
                <c:pt idx="338">
                  <c:v>34304</c:v>
                </c:pt>
                <c:pt idx="339">
                  <c:v>34274</c:v>
                </c:pt>
                <c:pt idx="340">
                  <c:v>34243</c:v>
                </c:pt>
                <c:pt idx="341">
                  <c:v>34213</c:v>
                </c:pt>
                <c:pt idx="342">
                  <c:v>34182</c:v>
                </c:pt>
                <c:pt idx="343">
                  <c:v>34151</c:v>
                </c:pt>
                <c:pt idx="344">
                  <c:v>34121</c:v>
                </c:pt>
                <c:pt idx="345">
                  <c:v>34090</c:v>
                </c:pt>
                <c:pt idx="346">
                  <c:v>34060</c:v>
                </c:pt>
                <c:pt idx="347">
                  <c:v>34029</c:v>
                </c:pt>
                <c:pt idx="348">
                  <c:v>34001</c:v>
                </c:pt>
                <c:pt idx="349">
                  <c:v>33970</c:v>
                </c:pt>
                <c:pt idx="350">
                  <c:v>33939</c:v>
                </c:pt>
                <c:pt idx="351">
                  <c:v>33909</c:v>
                </c:pt>
                <c:pt idx="352">
                  <c:v>33878</c:v>
                </c:pt>
                <c:pt idx="353">
                  <c:v>33848</c:v>
                </c:pt>
                <c:pt idx="354">
                  <c:v>33817</c:v>
                </c:pt>
                <c:pt idx="355">
                  <c:v>33786</c:v>
                </c:pt>
                <c:pt idx="356">
                  <c:v>33756</c:v>
                </c:pt>
                <c:pt idx="357">
                  <c:v>33725</c:v>
                </c:pt>
                <c:pt idx="358">
                  <c:v>33695</c:v>
                </c:pt>
                <c:pt idx="359">
                  <c:v>33664</c:v>
                </c:pt>
                <c:pt idx="360">
                  <c:v>33635</c:v>
                </c:pt>
                <c:pt idx="361">
                  <c:v>33604</c:v>
                </c:pt>
                <c:pt idx="362">
                  <c:v>33573</c:v>
                </c:pt>
                <c:pt idx="363">
                  <c:v>33543</c:v>
                </c:pt>
                <c:pt idx="364">
                  <c:v>33512</c:v>
                </c:pt>
                <c:pt idx="365">
                  <c:v>33482</c:v>
                </c:pt>
                <c:pt idx="366">
                  <c:v>33451</c:v>
                </c:pt>
                <c:pt idx="367">
                  <c:v>33420</c:v>
                </c:pt>
                <c:pt idx="368">
                  <c:v>33390</c:v>
                </c:pt>
                <c:pt idx="369">
                  <c:v>33359</c:v>
                </c:pt>
                <c:pt idx="370">
                  <c:v>33329</c:v>
                </c:pt>
                <c:pt idx="371">
                  <c:v>33298</c:v>
                </c:pt>
                <c:pt idx="372">
                  <c:v>33270</c:v>
                </c:pt>
                <c:pt idx="373">
                  <c:v>33239</c:v>
                </c:pt>
                <c:pt idx="374">
                  <c:v>33208</c:v>
                </c:pt>
                <c:pt idx="375">
                  <c:v>33178</c:v>
                </c:pt>
                <c:pt idx="376">
                  <c:v>33147</c:v>
                </c:pt>
                <c:pt idx="377">
                  <c:v>33117</c:v>
                </c:pt>
                <c:pt idx="378">
                  <c:v>33086</c:v>
                </c:pt>
                <c:pt idx="379">
                  <c:v>33055</c:v>
                </c:pt>
                <c:pt idx="380">
                  <c:v>33025</c:v>
                </c:pt>
                <c:pt idx="381">
                  <c:v>32994</c:v>
                </c:pt>
                <c:pt idx="382">
                  <c:v>32964</c:v>
                </c:pt>
                <c:pt idx="383">
                  <c:v>32933</c:v>
                </c:pt>
                <c:pt idx="384">
                  <c:v>32905</c:v>
                </c:pt>
                <c:pt idx="385">
                  <c:v>32874</c:v>
                </c:pt>
                <c:pt idx="386">
                  <c:v>32843</c:v>
                </c:pt>
                <c:pt idx="387">
                  <c:v>32813</c:v>
                </c:pt>
                <c:pt idx="388">
                  <c:v>32782</c:v>
                </c:pt>
                <c:pt idx="389">
                  <c:v>32752</c:v>
                </c:pt>
                <c:pt idx="390">
                  <c:v>32721</c:v>
                </c:pt>
                <c:pt idx="391">
                  <c:v>32690</c:v>
                </c:pt>
                <c:pt idx="392">
                  <c:v>32660</c:v>
                </c:pt>
                <c:pt idx="393">
                  <c:v>32629</c:v>
                </c:pt>
                <c:pt idx="394">
                  <c:v>32599</c:v>
                </c:pt>
                <c:pt idx="395">
                  <c:v>32568</c:v>
                </c:pt>
                <c:pt idx="396">
                  <c:v>32540</c:v>
                </c:pt>
                <c:pt idx="397">
                  <c:v>32509</c:v>
                </c:pt>
                <c:pt idx="398">
                  <c:v>32478</c:v>
                </c:pt>
                <c:pt idx="399">
                  <c:v>32448</c:v>
                </c:pt>
                <c:pt idx="400">
                  <c:v>32417</c:v>
                </c:pt>
                <c:pt idx="401">
                  <c:v>32387</c:v>
                </c:pt>
                <c:pt idx="402">
                  <c:v>32356</c:v>
                </c:pt>
                <c:pt idx="403">
                  <c:v>32325</c:v>
                </c:pt>
                <c:pt idx="404">
                  <c:v>32295</c:v>
                </c:pt>
                <c:pt idx="405">
                  <c:v>32264</c:v>
                </c:pt>
                <c:pt idx="406">
                  <c:v>32234</c:v>
                </c:pt>
                <c:pt idx="407">
                  <c:v>32203</c:v>
                </c:pt>
                <c:pt idx="408">
                  <c:v>32174</c:v>
                </c:pt>
                <c:pt idx="409">
                  <c:v>32143</c:v>
                </c:pt>
                <c:pt idx="410">
                  <c:v>32112</c:v>
                </c:pt>
                <c:pt idx="411">
                  <c:v>32082</c:v>
                </c:pt>
                <c:pt idx="412">
                  <c:v>32051</c:v>
                </c:pt>
                <c:pt idx="413">
                  <c:v>32021</c:v>
                </c:pt>
                <c:pt idx="414">
                  <c:v>31990</c:v>
                </c:pt>
                <c:pt idx="415">
                  <c:v>31959</c:v>
                </c:pt>
                <c:pt idx="416">
                  <c:v>31929</c:v>
                </c:pt>
                <c:pt idx="417">
                  <c:v>31898</c:v>
                </c:pt>
                <c:pt idx="418">
                  <c:v>31868</c:v>
                </c:pt>
                <c:pt idx="419">
                  <c:v>31837</c:v>
                </c:pt>
                <c:pt idx="420">
                  <c:v>31809</c:v>
                </c:pt>
                <c:pt idx="421">
                  <c:v>31778</c:v>
                </c:pt>
                <c:pt idx="422">
                  <c:v>31747</c:v>
                </c:pt>
                <c:pt idx="423">
                  <c:v>31717</c:v>
                </c:pt>
                <c:pt idx="424">
                  <c:v>31686</c:v>
                </c:pt>
                <c:pt idx="425">
                  <c:v>31656</c:v>
                </c:pt>
                <c:pt idx="426">
                  <c:v>31625</c:v>
                </c:pt>
                <c:pt idx="427">
                  <c:v>31594</c:v>
                </c:pt>
                <c:pt idx="428">
                  <c:v>31564</c:v>
                </c:pt>
                <c:pt idx="429">
                  <c:v>31533</c:v>
                </c:pt>
                <c:pt idx="430">
                  <c:v>31503</c:v>
                </c:pt>
                <c:pt idx="431">
                  <c:v>31472</c:v>
                </c:pt>
                <c:pt idx="432">
                  <c:v>31444</c:v>
                </c:pt>
                <c:pt idx="433">
                  <c:v>31413</c:v>
                </c:pt>
                <c:pt idx="434">
                  <c:v>31382</c:v>
                </c:pt>
                <c:pt idx="435">
                  <c:v>31352</c:v>
                </c:pt>
                <c:pt idx="436">
                  <c:v>31321</c:v>
                </c:pt>
                <c:pt idx="437">
                  <c:v>31291</c:v>
                </c:pt>
                <c:pt idx="438">
                  <c:v>31260</c:v>
                </c:pt>
                <c:pt idx="439">
                  <c:v>31229</c:v>
                </c:pt>
                <c:pt idx="440">
                  <c:v>31199</c:v>
                </c:pt>
                <c:pt idx="441">
                  <c:v>31168</c:v>
                </c:pt>
                <c:pt idx="442">
                  <c:v>31138</c:v>
                </c:pt>
                <c:pt idx="443">
                  <c:v>31107</c:v>
                </c:pt>
                <c:pt idx="444">
                  <c:v>31079</c:v>
                </c:pt>
                <c:pt idx="445">
                  <c:v>31048</c:v>
                </c:pt>
                <c:pt idx="446">
                  <c:v>31017</c:v>
                </c:pt>
                <c:pt idx="447">
                  <c:v>30987</c:v>
                </c:pt>
                <c:pt idx="448">
                  <c:v>30956</c:v>
                </c:pt>
                <c:pt idx="449">
                  <c:v>30926</c:v>
                </c:pt>
                <c:pt idx="450">
                  <c:v>30895</c:v>
                </c:pt>
                <c:pt idx="451">
                  <c:v>30864</c:v>
                </c:pt>
                <c:pt idx="452">
                  <c:v>30834</c:v>
                </c:pt>
                <c:pt idx="453">
                  <c:v>30803</c:v>
                </c:pt>
                <c:pt idx="454">
                  <c:v>30773</c:v>
                </c:pt>
                <c:pt idx="455">
                  <c:v>30742</c:v>
                </c:pt>
                <c:pt idx="456">
                  <c:v>30713</c:v>
                </c:pt>
                <c:pt idx="457">
                  <c:v>30682</c:v>
                </c:pt>
                <c:pt idx="458">
                  <c:v>30651</c:v>
                </c:pt>
                <c:pt idx="459">
                  <c:v>30621</c:v>
                </c:pt>
                <c:pt idx="460">
                  <c:v>30590</c:v>
                </c:pt>
                <c:pt idx="461">
                  <c:v>30560</c:v>
                </c:pt>
                <c:pt idx="462">
                  <c:v>30529</c:v>
                </c:pt>
                <c:pt idx="463">
                  <c:v>30498</c:v>
                </c:pt>
                <c:pt idx="464">
                  <c:v>30468</c:v>
                </c:pt>
                <c:pt idx="465">
                  <c:v>30437</c:v>
                </c:pt>
                <c:pt idx="466">
                  <c:v>30407</c:v>
                </c:pt>
                <c:pt idx="467">
                  <c:v>30376</c:v>
                </c:pt>
                <c:pt idx="468">
                  <c:v>30348</c:v>
                </c:pt>
                <c:pt idx="469">
                  <c:v>30317</c:v>
                </c:pt>
                <c:pt idx="470">
                  <c:v>30286</c:v>
                </c:pt>
                <c:pt idx="471">
                  <c:v>30256</c:v>
                </c:pt>
                <c:pt idx="472">
                  <c:v>30225</c:v>
                </c:pt>
                <c:pt idx="473">
                  <c:v>30195</c:v>
                </c:pt>
                <c:pt idx="474">
                  <c:v>30164</c:v>
                </c:pt>
                <c:pt idx="475">
                  <c:v>30133</c:v>
                </c:pt>
                <c:pt idx="476">
                  <c:v>30103</c:v>
                </c:pt>
                <c:pt idx="477">
                  <c:v>30072</c:v>
                </c:pt>
                <c:pt idx="478">
                  <c:v>30042</c:v>
                </c:pt>
                <c:pt idx="479">
                  <c:v>30011</c:v>
                </c:pt>
                <c:pt idx="480">
                  <c:v>29983</c:v>
                </c:pt>
                <c:pt idx="481">
                  <c:v>29952</c:v>
                </c:pt>
                <c:pt idx="482">
                  <c:v>29921</c:v>
                </c:pt>
                <c:pt idx="483">
                  <c:v>29891</c:v>
                </c:pt>
                <c:pt idx="484">
                  <c:v>29860</c:v>
                </c:pt>
                <c:pt idx="485">
                  <c:v>29830</c:v>
                </c:pt>
                <c:pt idx="486">
                  <c:v>29799</c:v>
                </c:pt>
                <c:pt idx="487">
                  <c:v>29768</c:v>
                </c:pt>
                <c:pt idx="488">
                  <c:v>29738</c:v>
                </c:pt>
                <c:pt idx="489">
                  <c:v>29707</c:v>
                </c:pt>
                <c:pt idx="490">
                  <c:v>29677</c:v>
                </c:pt>
                <c:pt idx="491">
                  <c:v>29646</c:v>
                </c:pt>
                <c:pt idx="492">
                  <c:v>29618</c:v>
                </c:pt>
                <c:pt idx="493">
                  <c:v>29587</c:v>
                </c:pt>
                <c:pt idx="494">
                  <c:v>29556</c:v>
                </c:pt>
                <c:pt idx="495">
                  <c:v>29526</c:v>
                </c:pt>
                <c:pt idx="496">
                  <c:v>29495</c:v>
                </c:pt>
                <c:pt idx="497">
                  <c:v>29465</c:v>
                </c:pt>
                <c:pt idx="498">
                  <c:v>29434</c:v>
                </c:pt>
                <c:pt idx="499">
                  <c:v>29403</c:v>
                </c:pt>
                <c:pt idx="500">
                  <c:v>29373</c:v>
                </c:pt>
                <c:pt idx="501">
                  <c:v>29342</c:v>
                </c:pt>
                <c:pt idx="502">
                  <c:v>29312</c:v>
                </c:pt>
                <c:pt idx="503">
                  <c:v>29281</c:v>
                </c:pt>
                <c:pt idx="504">
                  <c:v>29252</c:v>
                </c:pt>
                <c:pt idx="505">
                  <c:v>29221</c:v>
                </c:pt>
                <c:pt idx="506">
                  <c:v>29190</c:v>
                </c:pt>
                <c:pt idx="507">
                  <c:v>29160</c:v>
                </c:pt>
                <c:pt idx="508">
                  <c:v>29129</c:v>
                </c:pt>
                <c:pt idx="509">
                  <c:v>29099</c:v>
                </c:pt>
                <c:pt idx="510">
                  <c:v>29068</c:v>
                </c:pt>
                <c:pt idx="511">
                  <c:v>29037</c:v>
                </c:pt>
                <c:pt idx="512">
                  <c:v>29007</c:v>
                </c:pt>
                <c:pt idx="513">
                  <c:v>28976</c:v>
                </c:pt>
                <c:pt idx="514">
                  <c:v>28946</c:v>
                </c:pt>
                <c:pt idx="515">
                  <c:v>28915</c:v>
                </c:pt>
                <c:pt idx="516">
                  <c:v>28887</c:v>
                </c:pt>
                <c:pt idx="517">
                  <c:v>28856</c:v>
                </c:pt>
                <c:pt idx="518">
                  <c:v>28825</c:v>
                </c:pt>
                <c:pt idx="519">
                  <c:v>28795</c:v>
                </c:pt>
                <c:pt idx="520">
                  <c:v>28764</c:v>
                </c:pt>
                <c:pt idx="521">
                  <c:v>28734</c:v>
                </c:pt>
                <c:pt idx="522">
                  <c:v>28703</c:v>
                </c:pt>
                <c:pt idx="523">
                  <c:v>28672</c:v>
                </c:pt>
                <c:pt idx="524">
                  <c:v>28642</c:v>
                </c:pt>
                <c:pt idx="525">
                  <c:v>28611</c:v>
                </c:pt>
                <c:pt idx="526">
                  <c:v>28581</c:v>
                </c:pt>
                <c:pt idx="527">
                  <c:v>28550</c:v>
                </c:pt>
                <c:pt idx="528">
                  <c:v>28522</c:v>
                </c:pt>
                <c:pt idx="529">
                  <c:v>28491</c:v>
                </c:pt>
                <c:pt idx="530">
                  <c:v>28460</c:v>
                </c:pt>
                <c:pt idx="531">
                  <c:v>28430</c:v>
                </c:pt>
                <c:pt idx="532">
                  <c:v>28399</c:v>
                </c:pt>
                <c:pt idx="533">
                  <c:v>28369</c:v>
                </c:pt>
                <c:pt idx="534">
                  <c:v>28338</c:v>
                </c:pt>
                <c:pt idx="535">
                  <c:v>28307</c:v>
                </c:pt>
                <c:pt idx="536">
                  <c:v>28277</c:v>
                </c:pt>
                <c:pt idx="537">
                  <c:v>28246</c:v>
                </c:pt>
                <c:pt idx="538">
                  <c:v>28216</c:v>
                </c:pt>
                <c:pt idx="539">
                  <c:v>28185</c:v>
                </c:pt>
                <c:pt idx="540">
                  <c:v>28157</c:v>
                </c:pt>
                <c:pt idx="541">
                  <c:v>28126</c:v>
                </c:pt>
                <c:pt idx="542">
                  <c:v>28095</c:v>
                </c:pt>
                <c:pt idx="543">
                  <c:v>28065</c:v>
                </c:pt>
                <c:pt idx="544">
                  <c:v>28034</c:v>
                </c:pt>
                <c:pt idx="545">
                  <c:v>28004</c:v>
                </c:pt>
                <c:pt idx="546">
                  <c:v>27973</c:v>
                </c:pt>
                <c:pt idx="547">
                  <c:v>27942</c:v>
                </c:pt>
                <c:pt idx="548">
                  <c:v>27912</c:v>
                </c:pt>
                <c:pt idx="549">
                  <c:v>27881</c:v>
                </c:pt>
                <c:pt idx="550">
                  <c:v>27851</c:v>
                </c:pt>
                <c:pt idx="551">
                  <c:v>27820</c:v>
                </c:pt>
                <c:pt idx="552">
                  <c:v>27791</c:v>
                </c:pt>
                <c:pt idx="553">
                  <c:v>27760</c:v>
                </c:pt>
                <c:pt idx="554">
                  <c:v>27729</c:v>
                </c:pt>
                <c:pt idx="555">
                  <c:v>27699</c:v>
                </c:pt>
                <c:pt idx="556">
                  <c:v>27668</c:v>
                </c:pt>
                <c:pt idx="557">
                  <c:v>27638</c:v>
                </c:pt>
                <c:pt idx="558">
                  <c:v>27607</c:v>
                </c:pt>
                <c:pt idx="559">
                  <c:v>27576</c:v>
                </c:pt>
                <c:pt idx="560">
                  <c:v>27546</c:v>
                </c:pt>
                <c:pt idx="561">
                  <c:v>27515</c:v>
                </c:pt>
                <c:pt idx="562">
                  <c:v>27485</c:v>
                </c:pt>
                <c:pt idx="563">
                  <c:v>27454</c:v>
                </c:pt>
                <c:pt idx="564">
                  <c:v>27426</c:v>
                </c:pt>
                <c:pt idx="565">
                  <c:v>27395</c:v>
                </c:pt>
                <c:pt idx="566">
                  <c:v>27364</c:v>
                </c:pt>
                <c:pt idx="567">
                  <c:v>27334</c:v>
                </c:pt>
                <c:pt idx="568">
                  <c:v>27303</c:v>
                </c:pt>
                <c:pt idx="569">
                  <c:v>27273</c:v>
                </c:pt>
                <c:pt idx="570">
                  <c:v>27242</c:v>
                </c:pt>
                <c:pt idx="571">
                  <c:v>27211</c:v>
                </c:pt>
                <c:pt idx="572">
                  <c:v>27181</c:v>
                </c:pt>
                <c:pt idx="573">
                  <c:v>27150</c:v>
                </c:pt>
                <c:pt idx="574">
                  <c:v>27120</c:v>
                </c:pt>
                <c:pt idx="575">
                  <c:v>27089</c:v>
                </c:pt>
                <c:pt idx="576">
                  <c:v>27061</c:v>
                </c:pt>
                <c:pt idx="577">
                  <c:v>27030</c:v>
                </c:pt>
                <c:pt idx="578">
                  <c:v>26999</c:v>
                </c:pt>
                <c:pt idx="579">
                  <c:v>26969</c:v>
                </c:pt>
                <c:pt idx="580">
                  <c:v>26938</c:v>
                </c:pt>
                <c:pt idx="581">
                  <c:v>26908</c:v>
                </c:pt>
                <c:pt idx="582">
                  <c:v>26877</c:v>
                </c:pt>
                <c:pt idx="583">
                  <c:v>26846</c:v>
                </c:pt>
                <c:pt idx="584">
                  <c:v>26816</c:v>
                </c:pt>
                <c:pt idx="585">
                  <c:v>26785</c:v>
                </c:pt>
                <c:pt idx="586">
                  <c:v>26755</c:v>
                </c:pt>
                <c:pt idx="587">
                  <c:v>26724</c:v>
                </c:pt>
                <c:pt idx="588">
                  <c:v>26696</c:v>
                </c:pt>
                <c:pt idx="589">
                  <c:v>26665</c:v>
                </c:pt>
                <c:pt idx="590">
                  <c:v>26634</c:v>
                </c:pt>
                <c:pt idx="591">
                  <c:v>26604</c:v>
                </c:pt>
                <c:pt idx="592">
                  <c:v>26573</c:v>
                </c:pt>
                <c:pt idx="593">
                  <c:v>26543</c:v>
                </c:pt>
                <c:pt idx="594">
                  <c:v>26512</c:v>
                </c:pt>
                <c:pt idx="595">
                  <c:v>26481</c:v>
                </c:pt>
                <c:pt idx="596">
                  <c:v>26451</c:v>
                </c:pt>
                <c:pt idx="597">
                  <c:v>26420</c:v>
                </c:pt>
                <c:pt idx="598">
                  <c:v>26390</c:v>
                </c:pt>
                <c:pt idx="599">
                  <c:v>26359</c:v>
                </c:pt>
                <c:pt idx="600">
                  <c:v>26330</c:v>
                </c:pt>
                <c:pt idx="601">
                  <c:v>26299</c:v>
                </c:pt>
                <c:pt idx="602">
                  <c:v>26268</c:v>
                </c:pt>
              </c:numCache>
            </c:numRef>
          </c:cat>
          <c:val>
            <c:numRef>
              <c:f>GOTH!$C$2:$C$604</c:f>
              <c:numCache>
                <c:formatCode>General</c:formatCode>
                <c:ptCount val="603"/>
                <c:pt idx="0">
                  <c:v>102.47508999999999</c:v>
                </c:pt>
                <c:pt idx="1">
                  <c:v>106.65224000000001</c:v>
                </c:pt>
                <c:pt idx="2">
                  <c:v>115.56484</c:v>
                </c:pt>
                <c:pt idx="3">
                  <c:v>105.84649999999999</c:v>
                </c:pt>
                <c:pt idx="4">
                  <c:v>107.21348</c:v>
                </c:pt>
                <c:pt idx="5">
                  <c:v>100.27590000000001</c:v>
                </c:pt>
                <c:pt idx="6">
                  <c:v>106.36985</c:v>
                </c:pt>
                <c:pt idx="7">
                  <c:v>104.139</c:v>
                </c:pt>
                <c:pt idx="8">
                  <c:v>100.12255999999999</c:v>
                </c:pt>
                <c:pt idx="9">
                  <c:v>97.451810000000009</c:v>
                </c:pt>
                <c:pt idx="10">
                  <c:v>96.696790000000007</c:v>
                </c:pt>
                <c:pt idx="11">
                  <c:v>89.626080000000002</c:v>
                </c:pt>
                <c:pt idx="12">
                  <c:v>85.006069999999994</c:v>
                </c:pt>
                <c:pt idx="13">
                  <c:v>82.484439999999992</c:v>
                </c:pt>
                <c:pt idx="14">
                  <c:v>82.618470000000002</c:v>
                </c:pt>
                <c:pt idx="15">
                  <c:v>80.402540000000002</c:v>
                </c:pt>
                <c:pt idx="16">
                  <c:v>73.273330000000016</c:v>
                </c:pt>
                <c:pt idx="17">
                  <c:v>75.673910000000021</c:v>
                </c:pt>
                <c:pt idx="18">
                  <c:v>77.651060000000001</c:v>
                </c:pt>
                <c:pt idx="19">
                  <c:v>77.398390000000006</c:v>
                </c:pt>
                <c:pt idx="20">
                  <c:v>74.584679999999992</c:v>
                </c:pt>
                <c:pt idx="21">
                  <c:v>72.5976</c:v>
                </c:pt>
                <c:pt idx="22">
                  <c:v>71.378129999999999</c:v>
                </c:pt>
                <c:pt idx="23">
                  <c:v>65.449000000000012</c:v>
                </c:pt>
                <c:pt idx="24">
                  <c:v>82.68934999999999</c:v>
                </c:pt>
                <c:pt idx="25">
                  <c:v>88.993340000000003</c:v>
                </c:pt>
                <c:pt idx="26">
                  <c:v>87.761800000000008</c:v>
                </c:pt>
                <c:pt idx="27">
                  <c:v>87.087490000000003</c:v>
                </c:pt>
                <c:pt idx="28">
                  <c:v>88.280200000000008</c:v>
                </c:pt>
                <c:pt idx="29">
                  <c:v>87.282000000000011</c:v>
                </c:pt>
                <c:pt idx="30">
                  <c:v>85.475940000000008</c:v>
                </c:pt>
                <c:pt idx="31">
                  <c:v>82.669269999999997</c:v>
                </c:pt>
                <c:pt idx="32">
                  <c:v>81.386870000000002</c:v>
                </c:pt>
                <c:pt idx="33">
                  <c:v>80.083799999999997</c:v>
                </c:pt>
                <c:pt idx="34">
                  <c:v>79.923649999999995</c:v>
                </c:pt>
                <c:pt idx="35">
                  <c:v>79.970709999999997</c:v>
                </c:pt>
                <c:pt idx="36">
                  <c:v>76.731680000000011</c:v>
                </c:pt>
                <c:pt idx="37">
                  <c:v>76.352379999999997</c:v>
                </c:pt>
                <c:pt idx="38">
                  <c:v>68.527180000000001</c:v>
                </c:pt>
                <c:pt idx="39">
                  <c:v>74.265650000000008</c:v>
                </c:pt>
                <c:pt idx="40">
                  <c:v>71.074889999999996</c:v>
                </c:pt>
                <c:pt idx="41">
                  <c:v>72.989819999999995</c:v>
                </c:pt>
                <c:pt idx="42">
                  <c:v>74.752070000000003</c:v>
                </c:pt>
                <c:pt idx="43">
                  <c:v>72.804270000000002</c:v>
                </c:pt>
                <c:pt idx="44">
                  <c:v>72.246470000000002</c:v>
                </c:pt>
                <c:pt idx="45">
                  <c:v>69.427260000000004</c:v>
                </c:pt>
                <c:pt idx="46">
                  <c:v>67.063150000000007</c:v>
                </c:pt>
                <c:pt idx="47">
                  <c:v>66.696100000000001</c:v>
                </c:pt>
                <c:pt idx="48">
                  <c:v>64.290639999999996</c:v>
                </c:pt>
                <c:pt idx="49">
                  <c:v>69.14425</c:v>
                </c:pt>
                <c:pt idx="50">
                  <c:v>71.457340000000002</c:v>
                </c:pt>
                <c:pt idx="51">
                  <c:v>71.532920000000004</c:v>
                </c:pt>
                <c:pt idx="52">
                  <c:v>69.701570000000004</c:v>
                </c:pt>
                <c:pt idx="53">
                  <c:v>69.803429999999992</c:v>
                </c:pt>
                <c:pt idx="54">
                  <c:v>70.206779999999995</c:v>
                </c:pt>
                <c:pt idx="55">
                  <c:v>69.772390000000001</c:v>
                </c:pt>
                <c:pt idx="56">
                  <c:v>68.949700000000007</c:v>
                </c:pt>
                <c:pt idx="57">
                  <c:v>67.579040000000006</c:v>
                </c:pt>
                <c:pt idx="58">
                  <c:v>67.678420000000003</c:v>
                </c:pt>
                <c:pt idx="59">
                  <c:v>67.336830000000006</c:v>
                </c:pt>
                <c:pt idx="60">
                  <c:v>68.284120000000001</c:v>
                </c:pt>
                <c:pt idx="61">
                  <c:v>65.556380000000004</c:v>
                </c:pt>
                <c:pt idx="62">
                  <c:v>65.396829999999994</c:v>
                </c:pt>
                <c:pt idx="63">
                  <c:v>62.760349999999995</c:v>
                </c:pt>
                <c:pt idx="64">
                  <c:v>64.068119999999993</c:v>
                </c:pt>
                <c:pt idx="65">
                  <c:v>67.36215</c:v>
                </c:pt>
                <c:pt idx="66">
                  <c:v>68.325320000000005</c:v>
                </c:pt>
                <c:pt idx="67">
                  <c:v>70.643600000000006</c:v>
                </c:pt>
                <c:pt idx="68">
                  <c:v>68.010289999999998</c:v>
                </c:pt>
                <c:pt idx="69">
                  <c:v>63.749160000000003</c:v>
                </c:pt>
                <c:pt idx="70">
                  <c:v>62.292340000000003</c:v>
                </c:pt>
                <c:pt idx="71">
                  <c:v>63.347000000000008</c:v>
                </c:pt>
                <c:pt idx="72">
                  <c:v>57.594000000000008</c:v>
                </c:pt>
                <c:pt idx="73">
                  <c:v>57.76003</c:v>
                </c:pt>
                <c:pt idx="74">
                  <c:v>59.841830000000002</c:v>
                </c:pt>
                <c:pt idx="75">
                  <c:v>59.135619999999996</c:v>
                </c:pt>
                <c:pt idx="76">
                  <c:v>59.288639999999994</c:v>
                </c:pt>
                <c:pt idx="77">
                  <c:v>55.857439999999997</c:v>
                </c:pt>
                <c:pt idx="78">
                  <c:v>54.829480000000004</c:v>
                </c:pt>
                <c:pt idx="79">
                  <c:v>58.129170000000002</c:v>
                </c:pt>
                <c:pt idx="80">
                  <c:v>55.437820000000002</c:v>
                </c:pt>
                <c:pt idx="81">
                  <c:v>57.94</c:v>
                </c:pt>
                <c:pt idx="82">
                  <c:v>58.006139999999995</c:v>
                </c:pt>
                <c:pt idx="83">
                  <c:v>60.873429999999999</c:v>
                </c:pt>
                <c:pt idx="84">
                  <c:v>60.18121</c:v>
                </c:pt>
                <c:pt idx="85">
                  <c:v>61.775359999999999</c:v>
                </c:pt>
                <c:pt idx="86">
                  <c:v>58.502319999999997</c:v>
                </c:pt>
                <c:pt idx="87">
                  <c:v>57.870730000000002</c:v>
                </c:pt>
                <c:pt idx="88">
                  <c:v>56.570780000000006</c:v>
                </c:pt>
                <c:pt idx="89">
                  <c:v>52.031580000000005</c:v>
                </c:pt>
                <c:pt idx="90">
                  <c:v>55.138150000000017</c:v>
                </c:pt>
                <c:pt idx="91">
                  <c:v>53.334759999999996</c:v>
                </c:pt>
                <c:pt idx="92">
                  <c:v>53.436509999999998</c:v>
                </c:pt>
                <c:pt idx="93">
                  <c:v>52.814189999999996</c:v>
                </c:pt>
                <c:pt idx="94">
                  <c:v>51.396279999999997</c:v>
                </c:pt>
                <c:pt idx="95">
                  <c:v>49.956469999999996</c:v>
                </c:pt>
                <c:pt idx="96">
                  <c:v>49.794790000000006</c:v>
                </c:pt>
                <c:pt idx="97">
                  <c:v>47.56523</c:v>
                </c:pt>
                <c:pt idx="98">
                  <c:v>46.011429999999997</c:v>
                </c:pt>
                <c:pt idx="99">
                  <c:v>45.627200000000002</c:v>
                </c:pt>
                <c:pt idx="100">
                  <c:v>47.731769999999997</c:v>
                </c:pt>
                <c:pt idx="101">
                  <c:v>45.868839999999999</c:v>
                </c:pt>
                <c:pt idx="102">
                  <c:v>44.297629999999998</c:v>
                </c:pt>
                <c:pt idx="103">
                  <c:v>47.241340000000001</c:v>
                </c:pt>
                <c:pt idx="104">
                  <c:v>46.993779999999994</c:v>
                </c:pt>
                <c:pt idx="105">
                  <c:v>48.088000000000001</c:v>
                </c:pt>
                <c:pt idx="106">
                  <c:v>51.464570000000002</c:v>
                </c:pt>
                <c:pt idx="107">
                  <c:v>48.642399999999995</c:v>
                </c:pt>
                <c:pt idx="108">
                  <c:v>47.092100000000002</c:v>
                </c:pt>
                <c:pt idx="109">
                  <c:v>46.490400000000001</c:v>
                </c:pt>
                <c:pt idx="110">
                  <c:v>44.581000000000003</c:v>
                </c:pt>
                <c:pt idx="111">
                  <c:v>43.200200000000002</c:v>
                </c:pt>
                <c:pt idx="112">
                  <c:v>43.4788</c:v>
                </c:pt>
                <c:pt idx="113">
                  <c:v>43.624499999999998</c:v>
                </c:pt>
                <c:pt idx="114">
                  <c:v>44.017099999999999</c:v>
                </c:pt>
                <c:pt idx="115">
                  <c:v>43.816299999999998</c:v>
                </c:pt>
                <c:pt idx="116">
                  <c:v>42.832700000000003</c:v>
                </c:pt>
                <c:pt idx="117">
                  <c:v>40.452500000000001</c:v>
                </c:pt>
                <c:pt idx="118">
                  <c:v>42.115600000000001</c:v>
                </c:pt>
                <c:pt idx="119">
                  <c:v>40.968699999999998</c:v>
                </c:pt>
                <c:pt idx="120">
                  <c:v>39.244599999999998</c:v>
                </c:pt>
                <c:pt idx="121">
                  <c:v>39.506999999999998</c:v>
                </c:pt>
                <c:pt idx="122">
                  <c:v>37.106099999999998</c:v>
                </c:pt>
                <c:pt idx="123">
                  <c:v>35.4908</c:v>
                </c:pt>
                <c:pt idx="124">
                  <c:v>36.788499999999999</c:v>
                </c:pt>
                <c:pt idx="125">
                  <c:v>32.466300000000004</c:v>
                </c:pt>
                <c:pt idx="126">
                  <c:v>36.240700000000004</c:v>
                </c:pt>
                <c:pt idx="127">
                  <c:v>38.170900000000003</c:v>
                </c:pt>
                <c:pt idx="128">
                  <c:v>38.024000000000001</c:v>
                </c:pt>
                <c:pt idx="129">
                  <c:v>39.071799999999996</c:v>
                </c:pt>
                <c:pt idx="130">
                  <c:v>38.746700000000004</c:v>
                </c:pt>
                <c:pt idx="131">
                  <c:v>36.939399999999999</c:v>
                </c:pt>
                <c:pt idx="132">
                  <c:v>37.456400000000002</c:v>
                </c:pt>
                <c:pt idx="133">
                  <c:v>35.848199999999999</c:v>
                </c:pt>
                <c:pt idx="134">
                  <c:v>34.588899999999995</c:v>
                </c:pt>
                <c:pt idx="135">
                  <c:v>33.044400000000003</c:v>
                </c:pt>
                <c:pt idx="136">
                  <c:v>33.5899</c:v>
                </c:pt>
                <c:pt idx="137">
                  <c:v>32.126300000000001</c:v>
                </c:pt>
                <c:pt idx="138">
                  <c:v>30.7561</c:v>
                </c:pt>
                <c:pt idx="139">
                  <c:v>31.194099999999999</c:v>
                </c:pt>
                <c:pt idx="140">
                  <c:v>28.620100000000001</c:v>
                </c:pt>
                <c:pt idx="141">
                  <c:v>29.979099999999999</c:v>
                </c:pt>
                <c:pt idx="142">
                  <c:v>31.662300000000002</c:v>
                </c:pt>
                <c:pt idx="143">
                  <c:v>29.707399999999996</c:v>
                </c:pt>
                <c:pt idx="144">
                  <c:v>27.150199999999998</c:v>
                </c:pt>
                <c:pt idx="145">
                  <c:v>25.843200000000003</c:v>
                </c:pt>
                <c:pt idx="146">
                  <c:v>27.111499999999999</c:v>
                </c:pt>
                <c:pt idx="147">
                  <c:v>25.474299999999999</c:v>
                </c:pt>
                <c:pt idx="148">
                  <c:v>23.842600000000001</c:v>
                </c:pt>
                <c:pt idx="149">
                  <c:v>25.045200000000001</c:v>
                </c:pt>
                <c:pt idx="150">
                  <c:v>23.545999999999999</c:v>
                </c:pt>
                <c:pt idx="151">
                  <c:v>20.981300000000001</c:v>
                </c:pt>
                <c:pt idx="152">
                  <c:v>19.042899999999999</c:v>
                </c:pt>
                <c:pt idx="153">
                  <c:v>19.524999999999999</c:v>
                </c:pt>
                <c:pt idx="154">
                  <c:v>19.116</c:v>
                </c:pt>
                <c:pt idx="155">
                  <c:v>14.9373</c:v>
                </c:pt>
                <c:pt idx="156">
                  <c:v>14.306500000000002</c:v>
                </c:pt>
                <c:pt idx="157">
                  <c:v>17.763999999999999</c:v>
                </c:pt>
                <c:pt idx="158">
                  <c:v>21.2727</c:v>
                </c:pt>
                <c:pt idx="159">
                  <c:v>18.3584</c:v>
                </c:pt>
                <c:pt idx="160">
                  <c:v>23.390599999999999</c:v>
                </c:pt>
                <c:pt idx="161">
                  <c:v>33.523299999999999</c:v>
                </c:pt>
                <c:pt idx="162">
                  <c:v>33.635100000000001</c:v>
                </c:pt>
                <c:pt idx="163">
                  <c:v>32.973399999999998</c:v>
                </c:pt>
                <c:pt idx="164">
                  <c:v>32.071799999999996</c:v>
                </c:pt>
                <c:pt idx="165">
                  <c:v>36.1387</c:v>
                </c:pt>
                <c:pt idx="166">
                  <c:v>35.867100000000001</c:v>
                </c:pt>
                <c:pt idx="167">
                  <c:v>33.804600000000001</c:v>
                </c:pt>
                <c:pt idx="168">
                  <c:v>32.541699999999999</c:v>
                </c:pt>
                <c:pt idx="169">
                  <c:v>33.843600000000002</c:v>
                </c:pt>
                <c:pt idx="170">
                  <c:v>33.947099999999999</c:v>
                </c:pt>
                <c:pt idx="171">
                  <c:v>35.517899999999997</c:v>
                </c:pt>
                <c:pt idx="172">
                  <c:v>38.869799999999998</c:v>
                </c:pt>
                <c:pt idx="173">
                  <c:v>38.555500000000002</c:v>
                </c:pt>
                <c:pt idx="174">
                  <c:v>36.9861</c:v>
                </c:pt>
                <c:pt idx="175">
                  <c:v>35.058900000000001</c:v>
                </c:pt>
                <c:pt idx="176">
                  <c:v>38.439399999999999</c:v>
                </c:pt>
                <c:pt idx="177">
                  <c:v>42.26</c:v>
                </c:pt>
                <c:pt idx="178">
                  <c:v>42.215800000000002</c:v>
                </c:pt>
                <c:pt idx="179">
                  <c:v>42.169799999999995</c:v>
                </c:pt>
                <c:pt idx="180">
                  <c:v>43.251199999999997</c:v>
                </c:pt>
                <c:pt idx="181">
                  <c:v>44.55</c:v>
                </c:pt>
                <c:pt idx="182">
                  <c:v>41.313900000000004</c:v>
                </c:pt>
                <c:pt idx="183">
                  <c:v>41.824300000000001</c:v>
                </c:pt>
                <c:pt idx="184">
                  <c:v>40.04</c:v>
                </c:pt>
                <c:pt idx="185">
                  <c:v>37.660299999999999</c:v>
                </c:pt>
                <c:pt idx="186">
                  <c:v>36.929200000000002</c:v>
                </c:pt>
                <c:pt idx="187">
                  <c:v>35.707599999999999</c:v>
                </c:pt>
                <c:pt idx="188">
                  <c:v>34.6631</c:v>
                </c:pt>
                <c:pt idx="189">
                  <c:v>33.0152</c:v>
                </c:pt>
                <c:pt idx="190">
                  <c:v>33.9604</c:v>
                </c:pt>
                <c:pt idx="191">
                  <c:v>35.047899999999998</c:v>
                </c:pt>
                <c:pt idx="192">
                  <c:v>33.377658279999999</c:v>
                </c:pt>
                <c:pt idx="193">
                  <c:v>32.902584169999997</c:v>
                </c:pt>
                <c:pt idx="194">
                  <c:v>30.750639830000001</c:v>
                </c:pt>
                <c:pt idx="195">
                  <c:v>30.818597249999996</c:v>
                </c:pt>
                <c:pt idx="196">
                  <c:v>29.537173590000002</c:v>
                </c:pt>
                <c:pt idx="197">
                  <c:v>30.367539790000002</c:v>
                </c:pt>
                <c:pt idx="198">
                  <c:v>30.398110799999998</c:v>
                </c:pt>
                <c:pt idx="199">
                  <c:v>31.746059610000003</c:v>
                </c:pt>
                <c:pt idx="200">
                  <c:v>29.78973006</c:v>
                </c:pt>
                <c:pt idx="201">
                  <c:v>28.45253898</c:v>
                </c:pt>
                <c:pt idx="202">
                  <c:v>27.470308839999998</c:v>
                </c:pt>
                <c:pt idx="203">
                  <c:v>26.242526959999999</c:v>
                </c:pt>
                <c:pt idx="204">
                  <c:v>26.739786709999997</c:v>
                </c:pt>
                <c:pt idx="205">
                  <c:v>26.15034163</c:v>
                </c:pt>
                <c:pt idx="206">
                  <c:v>28.397046770000003</c:v>
                </c:pt>
                <c:pt idx="207">
                  <c:v>27.090236329999996</c:v>
                </c:pt>
                <c:pt idx="208">
                  <c:v>25.889631359999999</c:v>
                </c:pt>
                <c:pt idx="209">
                  <c:v>24.763832569999998</c:v>
                </c:pt>
                <c:pt idx="210">
                  <c:v>24.715899880000002</c:v>
                </c:pt>
                <c:pt idx="211">
                  <c:v>22.910066390000001</c:v>
                </c:pt>
                <c:pt idx="212">
                  <c:v>22.900418909999999</c:v>
                </c:pt>
                <c:pt idx="213">
                  <c:v>22.234985470000002</c:v>
                </c:pt>
                <c:pt idx="214">
                  <c:v>20.768321689999997</c:v>
                </c:pt>
                <c:pt idx="215">
                  <c:v>24.509436000000001</c:v>
                </c:pt>
                <c:pt idx="216">
                  <c:v>23.210238920000002</c:v>
                </c:pt>
                <c:pt idx="217">
                  <c:v>22.712093300000003</c:v>
                </c:pt>
                <c:pt idx="218">
                  <c:v>21.775288999999997</c:v>
                </c:pt>
                <c:pt idx="219">
                  <c:v>21.053371619999997</c:v>
                </c:pt>
                <c:pt idx="220">
                  <c:v>20.143476400000001</c:v>
                </c:pt>
                <c:pt idx="221">
                  <c:v>19.718675940000001</c:v>
                </c:pt>
                <c:pt idx="222">
                  <c:v>19.116941069999999</c:v>
                </c:pt>
                <c:pt idx="223">
                  <c:v>19.03502718</c:v>
                </c:pt>
                <c:pt idx="224">
                  <c:v>18.08806006</c:v>
                </c:pt>
                <c:pt idx="225">
                  <c:v>17.6295103</c:v>
                </c:pt>
                <c:pt idx="226">
                  <c:v>16.61259454</c:v>
                </c:pt>
                <c:pt idx="227">
                  <c:v>15.85621465</c:v>
                </c:pt>
                <c:pt idx="228">
                  <c:v>15.53503768</c:v>
                </c:pt>
                <c:pt idx="229">
                  <c:v>15.2873789</c:v>
                </c:pt>
                <c:pt idx="230">
                  <c:v>15.726051740000001</c:v>
                </c:pt>
                <c:pt idx="231">
                  <c:v>15.548139089999999</c:v>
                </c:pt>
                <c:pt idx="232">
                  <c:v>14.874317040000001</c:v>
                </c:pt>
                <c:pt idx="233">
                  <c:v>15.58643096</c:v>
                </c:pt>
                <c:pt idx="234">
                  <c:v>16.227760910000001</c:v>
                </c:pt>
                <c:pt idx="235">
                  <c:v>16.23170339</c:v>
                </c:pt>
                <c:pt idx="236">
                  <c:v>17.094738840000002</c:v>
                </c:pt>
                <c:pt idx="237">
                  <c:v>16.639088579999999</c:v>
                </c:pt>
                <c:pt idx="238">
                  <c:v>16.402049170000002</c:v>
                </c:pt>
                <c:pt idx="239">
                  <c:v>16.18940267</c:v>
                </c:pt>
                <c:pt idx="240">
                  <c:v>15.27495609</c:v>
                </c:pt>
                <c:pt idx="241">
                  <c:v>15.003391590000001</c:v>
                </c:pt>
                <c:pt idx="242">
                  <c:v>14.946506159999998</c:v>
                </c:pt>
                <c:pt idx="243">
                  <c:v>14.56213477</c:v>
                </c:pt>
                <c:pt idx="244">
                  <c:v>13.822203159999999</c:v>
                </c:pt>
                <c:pt idx="245">
                  <c:v>14.20490571</c:v>
                </c:pt>
                <c:pt idx="246">
                  <c:v>14.798012080000001</c:v>
                </c:pt>
                <c:pt idx="247">
                  <c:v>14.31316775</c:v>
                </c:pt>
                <c:pt idx="248">
                  <c:v>14.565111309999999</c:v>
                </c:pt>
                <c:pt idx="249">
                  <c:v>13.760632020000001</c:v>
                </c:pt>
                <c:pt idx="250">
                  <c:v>13.420636119999999</c:v>
                </c:pt>
                <c:pt idx="251">
                  <c:v>13.07674993</c:v>
                </c:pt>
                <c:pt idx="252">
                  <c:v>12.958733669999999</c:v>
                </c:pt>
                <c:pt idx="253">
                  <c:v>13.128831210000001</c:v>
                </c:pt>
                <c:pt idx="254">
                  <c:v>12.94047145</c:v>
                </c:pt>
                <c:pt idx="255">
                  <c:v>12.10257324</c:v>
                </c:pt>
                <c:pt idx="256">
                  <c:v>11.960182159999999</c:v>
                </c:pt>
                <c:pt idx="257">
                  <c:v>12.49594634</c:v>
                </c:pt>
                <c:pt idx="258">
                  <c:v>12.10662801</c:v>
                </c:pt>
                <c:pt idx="259">
                  <c:v>12.6065877</c:v>
                </c:pt>
                <c:pt idx="260">
                  <c:v>11.619234980000002</c:v>
                </c:pt>
                <c:pt idx="261">
                  <c:v>11.318924730000001</c:v>
                </c:pt>
                <c:pt idx="262">
                  <c:v>11.201677709999998</c:v>
                </c:pt>
                <c:pt idx="263">
                  <c:v>10.50948112</c:v>
                </c:pt>
                <c:pt idx="264">
                  <c:v>10.179480290000001</c:v>
                </c:pt>
                <c:pt idx="265">
                  <c:v>10.314088340000001</c:v>
                </c:pt>
                <c:pt idx="266">
                  <c:v>10.279172000000001</c:v>
                </c:pt>
                <c:pt idx="267">
                  <c:v>9.979609</c:v>
                </c:pt>
                <c:pt idx="268">
                  <c:v>10.193864999999999</c:v>
                </c:pt>
                <c:pt idx="269">
                  <c:v>10.463848</c:v>
                </c:pt>
                <c:pt idx="270">
                  <c:v>10.868331000000001</c:v>
                </c:pt>
                <c:pt idx="271">
                  <c:v>11.110851</c:v>
                </c:pt>
                <c:pt idx="272">
                  <c:v>11.53417</c:v>
                </c:pt>
                <c:pt idx="273">
                  <c:v>11.695129999999999</c:v>
                </c:pt>
                <c:pt idx="274">
                  <c:v>11.443320000000002</c:v>
                </c:pt>
                <c:pt idx="275">
                  <c:v>10.430530000000001</c:v>
                </c:pt>
                <c:pt idx="276">
                  <c:v>10.48316</c:v>
                </c:pt>
                <c:pt idx="277">
                  <c:v>10.772410000000001</c:v>
                </c:pt>
                <c:pt idx="278">
                  <c:v>10.990939179163986</c:v>
                </c:pt>
                <c:pt idx="279">
                  <c:v>11.332316699441931</c:v>
                </c:pt>
                <c:pt idx="280">
                  <c:v>11.129720599874661</c:v>
                </c:pt>
                <c:pt idx="281">
                  <c:v>11.441299837978519</c:v>
                </c:pt>
                <c:pt idx="282">
                  <c:v>10.758426134008237</c:v>
                </c:pt>
                <c:pt idx="283">
                  <c:v>12.000056898428433</c:v>
                </c:pt>
                <c:pt idx="284">
                  <c:v>12.841946223664904</c:v>
                </c:pt>
                <c:pt idx="285">
                  <c:v>12.922488005311301</c:v>
                </c:pt>
                <c:pt idx="286">
                  <c:v>13.033011891245241</c:v>
                </c:pt>
                <c:pt idx="287">
                  <c:v>13.465891982281985</c:v>
                </c:pt>
                <c:pt idx="288">
                  <c:v>13.247404006645541</c:v>
                </c:pt>
                <c:pt idx="289">
                  <c:v>13.476069435309739</c:v>
                </c:pt>
                <c:pt idx="290">
                  <c:v>13.539422577730591</c:v>
                </c:pt>
                <c:pt idx="291">
                  <c:v>13.278038054574891</c:v>
                </c:pt>
                <c:pt idx="292">
                  <c:v>13.056667960294661</c:v>
                </c:pt>
                <c:pt idx="293">
                  <c:v>13.398088776980705</c:v>
                </c:pt>
                <c:pt idx="294">
                  <c:v>12.407042968959876</c:v>
                </c:pt>
                <c:pt idx="295">
                  <c:v>12.431951054222369</c:v>
                </c:pt>
                <c:pt idx="296">
                  <c:v>12.070722609413075</c:v>
                </c:pt>
                <c:pt idx="297">
                  <c:v>11.517878603438698</c:v>
                </c:pt>
                <c:pt idx="298">
                  <c:v>11.160735080851452</c:v>
                </c:pt>
                <c:pt idx="299">
                  <c:v>11.421062204311649</c:v>
                </c:pt>
                <c:pt idx="300">
                  <c:v>11.527713380750606</c:v>
                </c:pt>
                <c:pt idx="301">
                  <c:v>11.5178269388194</c:v>
                </c:pt>
                <c:pt idx="302">
                  <c:v>11.390980758893967</c:v>
                </c:pt>
                <c:pt idx="303">
                  <c:v>10.358798954655256</c:v>
                </c:pt>
                <c:pt idx="304">
                  <c:v>9.9080149875674</c:v>
                </c:pt>
                <c:pt idx="305">
                  <c:v>9.599980704307681</c:v>
                </c:pt>
                <c:pt idx="306">
                  <c:v>9.4359146813767101</c:v>
                </c:pt>
                <c:pt idx="307">
                  <c:v>9.0670010751322678</c:v>
                </c:pt>
                <c:pt idx="308">
                  <c:v>8.9895760946336356</c:v>
                </c:pt>
                <c:pt idx="309">
                  <c:v>8.867406509869717</c:v>
                </c:pt>
                <c:pt idx="310">
                  <c:v>8.6330909957875459</c:v>
                </c:pt>
                <c:pt idx="311">
                  <c:v>8.6051492415009143</c:v>
                </c:pt>
                <c:pt idx="312">
                  <c:v>8.6175216758966489</c:v>
                </c:pt>
                <c:pt idx="313">
                  <c:v>8.5516203241923261</c:v>
                </c:pt>
                <c:pt idx="314">
                  <c:v>8.3909265293219342</c:v>
                </c:pt>
                <c:pt idx="315">
                  <c:v>7.9544582463332096</c:v>
                </c:pt>
                <c:pt idx="316">
                  <c:v>7.8754587868249022</c:v>
                </c:pt>
                <c:pt idx="317">
                  <c:v>8.023071753872836</c:v>
                </c:pt>
                <c:pt idx="318">
                  <c:v>7.8788964656387259</c:v>
                </c:pt>
                <c:pt idx="319">
                  <c:v>7.7633635641166192</c:v>
                </c:pt>
                <c:pt idx="320">
                  <c:v>7.6439431875465358</c:v>
                </c:pt>
                <c:pt idx="321">
                  <c:v>7.5106873778887406</c:v>
                </c:pt>
                <c:pt idx="322">
                  <c:v>7.1871278209465403</c:v>
                </c:pt>
                <c:pt idx="323">
                  <c:v>7.1708654454547194</c:v>
                </c:pt>
                <c:pt idx="324">
                  <c:v>7.2139263094059842</c:v>
                </c:pt>
                <c:pt idx="325">
                  <c:v>6.9871258802434921</c:v>
                </c:pt>
                <c:pt idx="326">
                  <c:v>7.0923825106069067</c:v>
                </c:pt>
                <c:pt idx="327">
                  <c:v>6.680049564129888</c:v>
                </c:pt>
                <c:pt idx="328">
                  <c:v>6.9043790535198983</c:v>
                </c:pt>
                <c:pt idx="329">
                  <c:v>7.1703969067458386</c:v>
                </c:pt>
                <c:pt idx="330">
                  <c:v>7.3190616877473635</c:v>
                </c:pt>
                <c:pt idx="331">
                  <c:v>7.2787485934189124</c:v>
                </c:pt>
                <c:pt idx="332">
                  <c:v>7.2972082682029029</c:v>
                </c:pt>
                <c:pt idx="333">
                  <c:v>7.4591339984300085</c:v>
                </c:pt>
                <c:pt idx="334">
                  <c:v>7.3104861550906124</c:v>
                </c:pt>
                <c:pt idx="335">
                  <c:v>7.1938246206007905</c:v>
                </c:pt>
                <c:pt idx="336">
                  <c:v>7.495573940732875</c:v>
                </c:pt>
                <c:pt idx="337">
                  <c:v>7.2461029350539556</c:v>
                </c:pt>
                <c:pt idx="338">
                  <c:v>7.035706875228839</c:v>
                </c:pt>
                <c:pt idx="339">
                  <c:v>7.0375788712085798</c:v>
                </c:pt>
                <c:pt idx="340">
                  <c:v>7.3870126397151363</c:v>
                </c:pt>
                <c:pt idx="341">
                  <c:v>7.4812396006087631</c:v>
                </c:pt>
                <c:pt idx="342">
                  <c:v>7.1548448785477579</c:v>
                </c:pt>
                <c:pt idx="343">
                  <c:v>6.9872466834251181</c:v>
                </c:pt>
                <c:pt idx="344">
                  <c:v>6.8711787322794544</c:v>
                </c:pt>
                <c:pt idx="345">
                  <c:v>6.6752832013396599</c:v>
                </c:pt>
                <c:pt idx="346">
                  <c:v>6.7578164131939982</c:v>
                </c:pt>
                <c:pt idx="347">
                  <c:v>7.0694076236123351</c:v>
                </c:pt>
                <c:pt idx="348">
                  <c:v>6.6103665812567556</c:v>
                </c:pt>
                <c:pt idx="349">
                  <c:v>6.3128664375220902</c:v>
                </c:pt>
                <c:pt idx="350">
                  <c:v>5.934943480545317</c:v>
                </c:pt>
                <c:pt idx="351">
                  <c:v>5.8223508596219471</c:v>
                </c:pt>
                <c:pt idx="352">
                  <c:v>5.7112428001522302</c:v>
                </c:pt>
                <c:pt idx="353">
                  <c:v>5.7299821337223555</c:v>
                </c:pt>
                <c:pt idx="354">
                  <c:v>5.5964672153653838</c:v>
                </c:pt>
                <c:pt idx="355">
                  <c:v>5.6452948325030654</c:v>
                </c:pt>
                <c:pt idx="356">
                  <c:v>5.4605428265108955</c:v>
                </c:pt>
                <c:pt idx="357">
                  <c:v>5.5275071383400292</c:v>
                </c:pt>
                <c:pt idx="358">
                  <c:v>5.3550737631660805</c:v>
                </c:pt>
                <c:pt idx="359">
                  <c:v>5.3431425259057335</c:v>
                </c:pt>
                <c:pt idx="360">
                  <c:v>5.423806347478676</c:v>
                </c:pt>
                <c:pt idx="361">
                  <c:v>5.5527155826696095</c:v>
                </c:pt>
                <c:pt idx="362">
                  <c:v>5.2907705889641132</c:v>
                </c:pt>
                <c:pt idx="363">
                  <c:v>5.0517597223785691</c:v>
                </c:pt>
                <c:pt idx="364">
                  <c:v>5.0506142430682415</c:v>
                </c:pt>
                <c:pt idx="365">
                  <c:v>5.0819566517023835</c:v>
                </c:pt>
                <c:pt idx="366">
                  <c:v>4.9857360564525139</c:v>
                </c:pt>
                <c:pt idx="367">
                  <c:v>4.9827043549012968</c:v>
                </c:pt>
                <c:pt idx="368">
                  <c:v>4.8884458408200793</c:v>
                </c:pt>
                <c:pt idx="369">
                  <c:v>5.018455350292248</c:v>
                </c:pt>
                <c:pt idx="370">
                  <c:v>4.9028022043244537</c:v>
                </c:pt>
                <c:pt idx="371">
                  <c:v>4.7889881371015592</c:v>
                </c:pt>
                <c:pt idx="372">
                  <c:v>4.4498176402665885</c:v>
                </c:pt>
                <c:pt idx="373">
                  <c:v>4.2411529167619024</c:v>
                </c:pt>
                <c:pt idx="374">
                  <c:v>3.8994742423528588</c:v>
                </c:pt>
                <c:pt idx="375">
                  <c:v>3.8979868509548199</c:v>
                </c:pt>
                <c:pt idx="376">
                  <c:v>3.6645870791443462</c:v>
                </c:pt>
                <c:pt idx="377">
                  <c:v>3.7975769382312916</c:v>
                </c:pt>
                <c:pt idx="378">
                  <c:v>4.0804442943400518</c:v>
                </c:pt>
                <c:pt idx="379">
                  <c:v>4.3457598132769695</c:v>
                </c:pt>
                <c:pt idx="380">
                  <c:v>4.4253809663660171</c:v>
                </c:pt>
                <c:pt idx="381">
                  <c:v>4.3918646838004225</c:v>
                </c:pt>
                <c:pt idx="382">
                  <c:v>4.3933425515146416</c:v>
                </c:pt>
                <c:pt idx="383">
                  <c:v>4.4617659815721051</c:v>
                </c:pt>
                <c:pt idx="384">
                  <c:v>4.4543839092945881</c:v>
                </c:pt>
                <c:pt idx="385">
                  <c:v>4.6125877779402495</c:v>
                </c:pt>
                <c:pt idx="386">
                  <c:v>4.7177755758094815</c:v>
                </c:pt>
                <c:pt idx="387">
                  <c:v>4.7721066494760569</c:v>
                </c:pt>
                <c:pt idx="388">
                  <c:v>4.8376403491711475</c:v>
                </c:pt>
                <c:pt idx="389">
                  <c:v>5.0460974663674669</c:v>
                </c:pt>
                <c:pt idx="390">
                  <c:v>5.1064566882655997</c:v>
                </c:pt>
                <c:pt idx="391">
                  <c:v>5.1015052285088727</c:v>
                </c:pt>
                <c:pt idx="392">
                  <c:v>4.9830454905677124</c:v>
                </c:pt>
                <c:pt idx="393">
                  <c:v>4.9399396512698264</c:v>
                </c:pt>
                <c:pt idx="394">
                  <c:v>4.8252006076945815</c:v>
                </c:pt>
                <c:pt idx="395">
                  <c:v>4.7457684366223623</c:v>
                </c:pt>
                <c:pt idx="396">
                  <c:v>4.7471143147373054</c:v>
                </c:pt>
                <c:pt idx="397">
                  <c:v>4.8269218686053268</c:v>
                </c:pt>
                <c:pt idx="398">
                  <c:v>4.804916016328951</c:v>
                </c:pt>
                <c:pt idx="399">
                  <c:v>4.7991085862340972</c:v>
                </c:pt>
                <c:pt idx="400">
                  <c:v>4.8771798574697094</c:v>
                </c:pt>
                <c:pt idx="401">
                  <c:v>4.9136904644779182</c:v>
                </c:pt>
                <c:pt idx="402">
                  <c:v>4.9305862176735031</c:v>
                </c:pt>
                <c:pt idx="403">
                  <c:v>4.9621301914972999</c:v>
                </c:pt>
                <c:pt idx="404">
                  <c:v>4.9001583349496007</c:v>
                </c:pt>
                <c:pt idx="405">
                  <c:v>4.7764530257989639</c:v>
                </c:pt>
                <c:pt idx="406">
                  <c:v>4.8318314138948075</c:v>
                </c:pt>
                <c:pt idx="407">
                  <c:v>4.7923809413380916</c:v>
                </c:pt>
                <c:pt idx="408">
                  <c:v>4.7828223894847248</c:v>
                </c:pt>
                <c:pt idx="409">
                  <c:v>4.6702524459265655</c:v>
                </c:pt>
                <c:pt idx="410">
                  <c:v>4.3149371232907825</c:v>
                </c:pt>
                <c:pt idx="411">
                  <c:v>4.1669293873848288</c:v>
                </c:pt>
                <c:pt idx="412">
                  <c:v>4.1275248487296716</c:v>
                </c:pt>
                <c:pt idx="413">
                  <c:v>4.8151944722316395</c:v>
                </c:pt>
                <c:pt idx="414">
                  <c:v>4.9160701723345417</c:v>
                </c:pt>
                <c:pt idx="415">
                  <c:v>5.0113067854078874</c:v>
                </c:pt>
                <c:pt idx="416">
                  <c:v>5.0063639672185056</c:v>
                </c:pt>
                <c:pt idx="417">
                  <c:v>4.9087203884718766</c:v>
                </c:pt>
                <c:pt idx="418">
                  <c:v>4.955902948507374</c:v>
                </c:pt>
                <c:pt idx="419">
                  <c:v>5.0940317925750858</c:v>
                </c:pt>
                <c:pt idx="420">
                  <c:v>5.0846960719450633</c:v>
                </c:pt>
                <c:pt idx="421">
                  <c:v>4.9335087744870485</c:v>
                </c:pt>
                <c:pt idx="422">
                  <c:v>4.8302557022352657</c:v>
                </c:pt>
                <c:pt idx="423">
                  <c:v>4.8816522857218381</c:v>
                </c:pt>
                <c:pt idx="424">
                  <c:v>4.9088990859181347</c:v>
                </c:pt>
                <c:pt idx="425">
                  <c:v>4.7340141002766281</c:v>
                </c:pt>
                <c:pt idx="426">
                  <c:v>4.8503045262686006</c:v>
                </c:pt>
                <c:pt idx="427">
                  <c:v>4.6561524490688173</c:v>
                </c:pt>
                <c:pt idx="428">
                  <c:v>4.6352272487056698</c:v>
                </c:pt>
                <c:pt idx="429">
                  <c:v>4.4775846224280889</c:v>
                </c:pt>
                <c:pt idx="430">
                  <c:v>4.5032661684655118</c:v>
                </c:pt>
                <c:pt idx="431">
                  <c:v>4.4764626055221557</c:v>
                </c:pt>
                <c:pt idx="432">
                  <c:v>4.3689825119067534</c:v>
                </c:pt>
                <c:pt idx="433">
                  <c:v>4.2096760120037588</c:v>
                </c:pt>
                <c:pt idx="434">
                  <c:v>4.0530491224686669</c:v>
                </c:pt>
                <c:pt idx="435">
                  <c:v>4.0282880375312802</c:v>
                </c:pt>
                <c:pt idx="436">
                  <c:v>4.0941288057353002</c:v>
                </c:pt>
                <c:pt idx="437">
                  <c:v>3.9694377084591435</c:v>
                </c:pt>
                <c:pt idx="438">
                  <c:v>4.097027655067353</c:v>
                </c:pt>
                <c:pt idx="439">
                  <c:v>4.3339747760301721</c:v>
                </c:pt>
                <c:pt idx="440">
                  <c:v>4.2943586178005075</c:v>
                </c:pt>
                <c:pt idx="441">
                  <c:v>4.1969713845062602</c:v>
                </c:pt>
                <c:pt idx="442">
                  <c:v>4.0857397271369038</c:v>
                </c:pt>
                <c:pt idx="443">
                  <c:v>4.0819606765163101</c:v>
                </c:pt>
                <c:pt idx="444">
                  <c:v>4.1096276018694224</c:v>
                </c:pt>
                <c:pt idx="445">
                  <c:v>4.0430778968380823</c:v>
                </c:pt>
                <c:pt idx="446">
                  <c:v>3.8265218505980094</c:v>
                </c:pt>
                <c:pt idx="447">
                  <c:v>3.7741803214845002</c:v>
                </c:pt>
                <c:pt idx="448">
                  <c:v>3.7266932311223822</c:v>
                </c:pt>
                <c:pt idx="449">
                  <c:v>3.6172060293687656</c:v>
                </c:pt>
                <c:pt idx="450">
                  <c:v>3.4378702366739384</c:v>
                </c:pt>
                <c:pt idx="451">
                  <c:v>3.2779521046327504</c:v>
                </c:pt>
                <c:pt idx="452">
                  <c:v>3.3021037974748024</c:v>
                </c:pt>
                <c:pt idx="453">
                  <c:v>3.2937485323976756</c:v>
                </c:pt>
                <c:pt idx="454">
                  <c:v>3.389434212531548</c:v>
                </c:pt>
                <c:pt idx="455">
                  <c:v>3.3471514358216798</c:v>
                </c:pt>
                <c:pt idx="456">
                  <c:v>3.3240055937590047</c:v>
                </c:pt>
                <c:pt idx="457">
                  <c:v>3.3763798494225337</c:v>
                </c:pt>
                <c:pt idx="458">
                  <c:v>3.3327624442456791</c:v>
                </c:pt>
                <c:pt idx="459">
                  <c:v>3.2830456360894669</c:v>
                </c:pt>
                <c:pt idx="460">
                  <c:v>3.2366411066202176</c:v>
                </c:pt>
                <c:pt idx="461">
                  <c:v>3.1571386966461237</c:v>
                </c:pt>
                <c:pt idx="462">
                  <c:v>3.0882121636360718</c:v>
                </c:pt>
                <c:pt idx="463">
                  <c:v>3.1122017742895283</c:v>
                </c:pt>
                <c:pt idx="464">
                  <c:v>3.1553563429368325</c:v>
                </c:pt>
                <c:pt idx="465">
                  <c:v>3.184414276057745</c:v>
                </c:pt>
                <c:pt idx="466">
                  <c:v>3.1822723903445205</c:v>
                </c:pt>
                <c:pt idx="467">
                  <c:v>3.0226790359966698</c:v>
                </c:pt>
                <c:pt idx="468">
                  <c:v>2.7904503595878638</c:v>
                </c:pt>
                <c:pt idx="469">
                  <c:v>2.7171006859739095</c:v>
                </c:pt>
                <c:pt idx="470">
                  <c:v>2.6562465399309882</c:v>
                </c:pt>
                <c:pt idx="471">
                  <c:v>2.6099176746648451</c:v>
                </c:pt>
                <c:pt idx="472">
                  <c:v>2.4913922519222704</c:v>
                </c:pt>
                <c:pt idx="473">
                  <c:v>2.2450797968238727</c:v>
                </c:pt>
                <c:pt idx="474">
                  <c:v>2.1425063006999041</c:v>
                </c:pt>
                <c:pt idx="475">
                  <c:v>2.0011924463122428</c:v>
                </c:pt>
                <c:pt idx="476">
                  <c:v>1.9247774477651935</c:v>
                </c:pt>
                <c:pt idx="477">
                  <c:v>1.9982335978653334</c:v>
                </c:pt>
                <c:pt idx="478">
                  <c:v>2.0180584226082106</c:v>
                </c:pt>
                <c:pt idx="479">
                  <c:v>1.9690839494659429</c:v>
                </c:pt>
                <c:pt idx="480">
                  <c:v>1.9587369528522915</c:v>
                </c:pt>
                <c:pt idx="481">
                  <c:v>1.9997410879323214</c:v>
                </c:pt>
                <c:pt idx="482">
                  <c:v>2.0177503267877852</c:v>
                </c:pt>
                <c:pt idx="483">
                  <c:v>2.0484018729414042</c:v>
                </c:pt>
                <c:pt idx="484">
                  <c:v>1.9255203007825819</c:v>
                </c:pt>
                <c:pt idx="485">
                  <c:v>1.830947925845972</c:v>
                </c:pt>
                <c:pt idx="486">
                  <c:v>1.9386163619416592</c:v>
                </c:pt>
                <c:pt idx="487">
                  <c:v>2.0457532168843353</c:v>
                </c:pt>
                <c:pt idx="488">
                  <c:v>2.0340005319685606</c:v>
                </c:pt>
                <c:pt idx="489">
                  <c:v>1.9559728249174955</c:v>
                </c:pt>
                <c:pt idx="490">
                  <c:v>2.0497567194911319</c:v>
                </c:pt>
                <c:pt idx="491">
                  <c:v>2.0199928102102462</c:v>
                </c:pt>
                <c:pt idx="492">
                  <c:v>1.9055928654506211</c:v>
                </c:pt>
                <c:pt idx="493">
                  <c:v>1.8931798286567301</c:v>
                </c:pt>
                <c:pt idx="494">
                  <c:v>1.8583822509983685</c:v>
                </c:pt>
                <c:pt idx="495">
                  <c:v>1.9013207665563081</c:v>
                </c:pt>
                <c:pt idx="496">
                  <c:v>1.921031450199101</c:v>
                </c:pt>
                <c:pt idx="497">
                  <c:v>1.7797401538897133</c:v>
                </c:pt>
                <c:pt idx="498">
                  <c:v>1.8117928364216385</c:v>
                </c:pt>
                <c:pt idx="499">
                  <c:v>1.7735516852453403</c:v>
                </c:pt>
                <c:pt idx="500">
                  <c:v>1.6424378963875261</c:v>
                </c:pt>
                <c:pt idx="501">
                  <c:v>1.5523543702236651</c:v>
                </c:pt>
                <c:pt idx="502">
                  <c:v>1.4419364205031941</c:v>
                </c:pt>
                <c:pt idx="503">
                  <c:v>1.3293309615589988</c:v>
                </c:pt>
                <c:pt idx="504">
                  <c:v>1.5334865837024705</c:v>
                </c:pt>
                <c:pt idx="505">
                  <c:v>1.5515715653296553</c:v>
                </c:pt>
                <c:pt idx="506">
                  <c:v>1.4516404698950653</c:v>
                </c:pt>
                <c:pt idx="507">
                  <c:v>1.440734076914471</c:v>
                </c:pt>
                <c:pt idx="508">
                  <c:v>1.369039763136761</c:v>
                </c:pt>
                <c:pt idx="509">
                  <c:v>1.5459416287291052</c:v>
                </c:pt>
                <c:pt idx="510">
                  <c:v>1.5904590253583299</c:v>
                </c:pt>
                <c:pt idx="511">
                  <c:v>1.4448766561674253</c:v>
                </c:pt>
                <c:pt idx="512">
                  <c:v>1.4088911693169532</c:v>
                </c:pt>
                <c:pt idx="513">
                  <c:v>1.3073067032317141</c:v>
                </c:pt>
                <c:pt idx="514">
                  <c:v>1.3091212224842295</c:v>
                </c:pt>
                <c:pt idx="515">
                  <c:v>1.2896238622853045</c:v>
                </c:pt>
                <c:pt idx="516">
                  <c:v>1.1946179911947763</c:v>
                </c:pt>
                <c:pt idx="517">
                  <c:v>1.1971977200250725</c:v>
                </c:pt>
                <c:pt idx="518">
                  <c:v>1.1121462612911766</c:v>
                </c:pt>
                <c:pt idx="519">
                  <c:v>1.1050094340999852</c:v>
                </c:pt>
                <c:pt idx="520">
                  <c:v>1.0981346674354335</c:v>
                </c:pt>
                <c:pt idx="521">
                  <c:v>1.2274549952765472</c:v>
                </c:pt>
                <c:pt idx="522">
                  <c:v>1.2109554141216872</c:v>
                </c:pt>
                <c:pt idx="523">
                  <c:v>1.1618841090280838</c:v>
                </c:pt>
                <c:pt idx="524">
                  <c:v>1.1324643046838876</c:v>
                </c:pt>
                <c:pt idx="525">
                  <c:v>1.1352459729159121</c:v>
                </c:pt>
                <c:pt idx="526">
                  <c:v>1.1556455930256755</c:v>
                </c:pt>
                <c:pt idx="527">
                  <c:v>1.1495195024231528</c:v>
                </c:pt>
                <c:pt idx="528">
                  <c:v>1.1068201827815194</c:v>
                </c:pt>
                <c:pt idx="529">
                  <c:v>1.0943777782958735</c:v>
                </c:pt>
                <c:pt idx="530">
                  <c:v>1.1306955929735829</c:v>
                </c:pt>
                <c:pt idx="531">
                  <c:v>1.1281669747964562</c:v>
                </c:pt>
                <c:pt idx="532">
                  <c:v>1.0577444678471091</c:v>
                </c:pt>
                <c:pt idx="533">
                  <c:v>1.069658106980697</c:v>
                </c:pt>
                <c:pt idx="534">
                  <c:v>1.086597466054102</c:v>
                </c:pt>
                <c:pt idx="535">
                  <c:v>1.0748017957937328</c:v>
                </c:pt>
                <c:pt idx="536">
                  <c:v>1.0403066765856595</c:v>
                </c:pt>
                <c:pt idx="537">
                  <c:v>0.98979117738561273</c:v>
                </c:pt>
                <c:pt idx="538">
                  <c:v>1.0010922960845443</c:v>
                </c:pt>
                <c:pt idx="539">
                  <c:v>0.96579998847875415</c:v>
                </c:pt>
                <c:pt idx="540">
                  <c:v>0.96234760302212119</c:v>
                </c:pt>
                <c:pt idx="541">
                  <c:v>0.966758274266313</c:v>
                </c:pt>
                <c:pt idx="542">
                  <c:v>0.94955405356786515</c:v>
                </c:pt>
                <c:pt idx="543">
                  <c:v>0.87239177889781971</c:v>
                </c:pt>
                <c:pt idx="544">
                  <c:v>0.83616121769766327</c:v>
                </c:pt>
                <c:pt idx="545">
                  <c:v>0.82580778880382055</c:v>
                </c:pt>
                <c:pt idx="546">
                  <c:v>0.79910486545902759</c:v>
                </c:pt>
                <c:pt idx="547">
                  <c:v>0.7761420056928009</c:v>
                </c:pt>
                <c:pt idx="548">
                  <c:v>0.75275048607514594</c:v>
                </c:pt>
                <c:pt idx="549">
                  <c:v>0.74249247071461</c:v>
                </c:pt>
                <c:pt idx="550">
                  <c:v>0.75756645299727088</c:v>
                </c:pt>
                <c:pt idx="551">
                  <c:v>0.752089646691396</c:v>
                </c:pt>
                <c:pt idx="552">
                  <c:v>0.75883807259009928</c:v>
                </c:pt>
                <c:pt idx="553">
                  <c:v>0.7302850306231311</c:v>
                </c:pt>
                <c:pt idx="554">
                  <c:v>0.63739695946684083</c:v>
                </c:pt>
                <c:pt idx="555">
                  <c:v>0.60334694719564863</c:v>
                </c:pt>
                <c:pt idx="556">
                  <c:v>0.59496278400024227</c:v>
                </c:pt>
                <c:pt idx="557">
                  <c:v>0.60325232515313876</c:v>
                </c:pt>
                <c:pt idx="558">
                  <c:v>0.6532207565522411</c:v>
                </c:pt>
                <c:pt idx="559">
                  <c:v>0.66279763423326843</c:v>
                </c:pt>
                <c:pt idx="560">
                  <c:v>0.6612752113940108</c:v>
                </c:pt>
                <c:pt idx="561">
                  <c:v>0.62158911818215523</c:v>
                </c:pt>
                <c:pt idx="562">
                  <c:v>0.60114783391768956</c:v>
                </c:pt>
                <c:pt idx="563">
                  <c:v>0.6355787437521212</c:v>
                </c:pt>
                <c:pt idx="564">
                  <c:v>0.58338261181458717</c:v>
                </c:pt>
                <c:pt idx="565">
                  <c:v>0.61157203012717842</c:v>
                </c:pt>
                <c:pt idx="566">
                  <c:v>0.46751688428498356</c:v>
                </c:pt>
                <c:pt idx="567">
                  <c:v>0.51429566930655146</c:v>
                </c:pt>
                <c:pt idx="568">
                  <c:v>0.57448398982527615</c:v>
                </c:pt>
                <c:pt idx="569">
                  <c:v>0.52755454297395887</c:v>
                </c:pt>
                <c:pt idx="570">
                  <c:v>0.51033823811182966</c:v>
                </c:pt>
                <c:pt idx="571">
                  <c:v>0.62187419598267535</c:v>
                </c:pt>
                <c:pt idx="572">
                  <c:v>0.6319920197678105</c:v>
                </c:pt>
                <c:pt idx="573">
                  <c:v>0.69595223493501901</c:v>
                </c:pt>
                <c:pt idx="574">
                  <c:v>0.73767696586222486</c:v>
                </c:pt>
                <c:pt idx="575">
                  <c:v>0.84050257017204699</c:v>
                </c:pt>
                <c:pt idx="576">
                  <c:v>0.87256585048201529</c:v>
                </c:pt>
                <c:pt idx="577">
                  <c:v>0.83441754129874168</c:v>
                </c:pt>
                <c:pt idx="578">
                  <c:v>0.80929587249522716</c:v>
                </c:pt>
                <c:pt idx="579">
                  <c:v>0.88483314067648255</c:v>
                </c:pt>
                <c:pt idx="580">
                  <c:v>1.0292181155755655</c:v>
                </c:pt>
                <c:pt idx="581">
                  <c:v>1.0167477160227711</c:v>
                </c:pt>
                <c:pt idx="582">
                  <c:v>0.94277559680835576</c:v>
                </c:pt>
                <c:pt idx="583">
                  <c:v>1.0086660207374687</c:v>
                </c:pt>
                <c:pt idx="584">
                  <c:v>0.9872174839158887</c:v>
                </c:pt>
                <c:pt idx="585">
                  <c:v>0.97824781136549332</c:v>
                </c:pt>
                <c:pt idx="586">
                  <c:v>1.019370526246669</c:v>
                </c:pt>
                <c:pt idx="587">
                  <c:v>1.0605124039595821</c:v>
                </c:pt>
                <c:pt idx="588">
                  <c:v>1.0439145612116787</c:v>
                </c:pt>
                <c:pt idx="589">
                  <c:v>1.1157311756728794</c:v>
                </c:pt>
                <c:pt idx="590">
                  <c:v>1.1119246184935516</c:v>
                </c:pt>
                <c:pt idx="591">
                  <c:v>1.1121273837824177</c:v>
                </c:pt>
                <c:pt idx="592">
                  <c:v>1.0890154111788206</c:v>
                </c:pt>
                <c:pt idx="593">
                  <c:v>1.0588745235129116</c:v>
                </c:pt>
                <c:pt idx="594">
                  <c:v>1.0283842569111861</c:v>
                </c:pt>
                <c:pt idx="595">
                  <c:v>1.0401767164211888</c:v>
                </c:pt>
                <c:pt idx="596">
                  <c:v>1.0115997822831269</c:v>
                </c:pt>
                <c:pt idx="597">
                  <c:v>1.0115299745765214</c:v>
                </c:pt>
                <c:pt idx="598">
                  <c:v>1.0270063022676619</c:v>
                </c:pt>
                <c:pt idx="599">
                  <c:v>1.0243956105905552</c:v>
                </c:pt>
                <c:pt idx="600">
                  <c:v>1.0218162143752023</c:v>
                </c:pt>
                <c:pt idx="601">
                  <c:v>1.0122035250000001</c:v>
                </c:pt>
                <c:pt idx="602">
                  <c:v>1</c:v>
                </c:pt>
              </c:numCache>
            </c:numRef>
          </c:val>
          <c:smooth val="0"/>
          <c:extLst>
            <c:ext xmlns:c16="http://schemas.microsoft.com/office/drawing/2014/chart" uri="{C3380CC4-5D6E-409C-BE32-E72D297353CC}">
              <c16:uniqueId val="{00000001-AB46-4AE6-BDC5-D83C377C9628}"/>
            </c:ext>
          </c:extLst>
        </c:ser>
        <c:dLbls>
          <c:showLegendKey val="0"/>
          <c:showVal val="0"/>
          <c:showCatName val="0"/>
          <c:showSerName val="0"/>
          <c:showPercent val="0"/>
          <c:showBubbleSize val="0"/>
        </c:dLbls>
        <c:smooth val="0"/>
        <c:axId val="1807782480"/>
        <c:axId val="1807788304"/>
      </c:lineChart>
      <c:dateAx>
        <c:axId val="1807782480"/>
        <c:scaling>
          <c:orientation val="minMax"/>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crossAx val="1807788304"/>
        <c:crosses val="autoZero"/>
        <c:auto val="1"/>
        <c:lblOffset val="100"/>
        <c:baseTimeUnit val="months"/>
      </c:dateAx>
      <c:valAx>
        <c:axId val="180778830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crossAx val="18077824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legend>
    <c:plotVisOnly val="1"/>
    <c:dispBlanksAs val="gap"/>
    <c:showDLblsOverMax val="0"/>
  </c:chart>
  <c:spPr>
    <a:noFill/>
    <a:ln>
      <a:noFill/>
    </a:ln>
    <a:effectLst/>
  </c:spPr>
  <c:txPr>
    <a:bodyPr/>
    <a:lstStyle/>
    <a:p>
      <a:pPr>
        <a:defRPr>
          <a:solidFill>
            <a:schemeClr val="tx1"/>
          </a:solidFill>
          <a:latin typeface="Times New Roman" panose="02020603050405020304" pitchFamily="18" charset="0"/>
          <a:cs typeface="Times New Roman" panose="02020603050405020304" pitchFamily="18" charset="0"/>
        </a:defRPr>
      </a:pPr>
      <a:endParaRPr lang="it-I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Lora" pitchFamily="2" charset="0"/>
                <a:ea typeface="+mn-ea"/>
                <a:cs typeface="+mn-cs"/>
              </a:defRPr>
            </a:pPr>
            <a:r>
              <a:rPr lang="en-US">
                <a:solidFill>
                  <a:schemeClr val="tx1"/>
                </a:solidFill>
              </a:rPr>
              <a:t>Italia</a:t>
            </a:r>
          </a:p>
        </c:rich>
      </c:tx>
      <c:layout>
        <c:manualLayout>
          <c:xMode val="edge"/>
          <c:yMode val="edge"/>
          <c:x val="0.41133092738407701"/>
          <c:y val="2.3447935889281433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Lora" pitchFamily="2" charset="0"/>
              <a:ea typeface="+mn-ea"/>
              <a:cs typeface="+mn-cs"/>
            </a:defRPr>
          </a:pPr>
          <a:endParaRPr lang="it-IT"/>
        </a:p>
      </c:txPr>
    </c:title>
    <c:autoTitleDeleted val="0"/>
    <c:plotArea>
      <c:layout>
        <c:manualLayout>
          <c:layoutTarget val="inner"/>
          <c:xMode val="edge"/>
          <c:yMode val="edge"/>
          <c:x val="0.236777850685331"/>
          <c:y val="0.23975145187957361"/>
          <c:w val="0.48014800233304172"/>
          <c:h val="0.60795789710787251"/>
        </c:manualLayout>
      </c:layout>
      <c:pieChart>
        <c:varyColors val="1"/>
        <c:ser>
          <c:idx val="0"/>
          <c:order val="0"/>
          <c:tx>
            <c:strRef>
              <c:f>Sheet1!$B$1</c:f>
              <c:strCache>
                <c:ptCount val="1"/>
              </c:strCache>
            </c:strRef>
          </c:tx>
          <c:dPt>
            <c:idx val="0"/>
            <c:bubble3D val="0"/>
            <c:spPr>
              <a:solidFill>
                <a:srgbClr val="002F56"/>
              </a:solidFill>
              <a:ln w="19050">
                <a:solidFill>
                  <a:schemeClr val="lt1"/>
                </a:solidFill>
              </a:ln>
              <a:effectLst/>
            </c:spPr>
            <c:extLst>
              <c:ext xmlns:c16="http://schemas.microsoft.com/office/drawing/2014/chart" uri="{C3380CC4-5D6E-409C-BE32-E72D297353CC}">
                <c16:uniqueId val="{00000001-529D-42A8-8A77-7DCED897FF3F}"/>
              </c:ext>
            </c:extLst>
          </c:dPt>
          <c:dPt>
            <c:idx val="1"/>
            <c:bubble3D val="0"/>
            <c:spPr>
              <a:solidFill>
                <a:srgbClr val="0059A2"/>
              </a:solidFill>
              <a:ln w="19050">
                <a:solidFill>
                  <a:schemeClr val="lt1"/>
                </a:solidFill>
              </a:ln>
              <a:effectLst/>
            </c:spPr>
            <c:extLst>
              <c:ext xmlns:c16="http://schemas.microsoft.com/office/drawing/2014/chart" uri="{C3380CC4-5D6E-409C-BE32-E72D297353CC}">
                <c16:uniqueId val="{00000003-529D-42A8-8A77-7DCED897FF3F}"/>
              </c:ext>
            </c:extLst>
          </c:dPt>
          <c:dPt>
            <c:idx val="2"/>
            <c:bubble3D val="0"/>
            <c:spPr>
              <a:solidFill>
                <a:srgbClr val="0082EE"/>
              </a:solidFill>
              <a:ln w="19050">
                <a:solidFill>
                  <a:schemeClr val="lt1"/>
                </a:solidFill>
              </a:ln>
              <a:effectLst/>
            </c:spPr>
            <c:extLst>
              <c:ext xmlns:c16="http://schemas.microsoft.com/office/drawing/2014/chart" uri="{C3380CC4-5D6E-409C-BE32-E72D297353CC}">
                <c16:uniqueId val="{00000005-529D-42A8-8A77-7DCED897FF3F}"/>
              </c:ext>
            </c:extLst>
          </c:dPt>
          <c:dPt>
            <c:idx val="3"/>
            <c:bubble3D val="0"/>
            <c:spPr>
              <a:solidFill>
                <a:srgbClr val="A1C6E7"/>
              </a:solidFill>
              <a:ln w="19050">
                <a:solidFill>
                  <a:schemeClr val="lt1"/>
                </a:solidFill>
              </a:ln>
              <a:effectLst/>
            </c:spPr>
            <c:extLst>
              <c:ext xmlns:c16="http://schemas.microsoft.com/office/drawing/2014/chart" uri="{C3380CC4-5D6E-409C-BE32-E72D297353CC}">
                <c16:uniqueId val="{00000007-529D-42A8-8A77-7DCED897FF3F}"/>
              </c:ext>
            </c:extLst>
          </c:dPt>
          <c:dPt>
            <c:idx val="4"/>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9-529D-42A8-8A77-7DCED897FF3F}"/>
              </c:ext>
            </c:extLst>
          </c:dPt>
          <c:dPt>
            <c:idx val="5"/>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B-529D-42A8-8A77-7DCED897FF3F}"/>
              </c:ext>
            </c:extLst>
          </c:dPt>
          <c:dPt>
            <c:idx val="6"/>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D-529D-42A8-8A77-7DCED897FF3F}"/>
              </c:ext>
            </c:extLst>
          </c:dPt>
          <c:dLbls>
            <c:dLbl>
              <c:idx val="1"/>
              <c:dLblPos val="outEnd"/>
              <c:showLegendKey val="0"/>
              <c:showVal val="0"/>
              <c:showCatName val="1"/>
              <c:showSerName val="0"/>
              <c:showPercent val="0"/>
              <c:showBubbleSize val="0"/>
              <c:extLst>
                <c:ext xmlns:c15="http://schemas.microsoft.com/office/drawing/2012/chart" uri="{CE6537A1-D6FC-4f65-9D91-7224C49458BB}">
                  <c15:layout>
                    <c:manualLayout>
                      <c:w val="0.34953327073724033"/>
                      <c:h val="0.25769281542320294"/>
                    </c:manualLayout>
                  </c15:layout>
                </c:ext>
                <c:ext xmlns:c16="http://schemas.microsoft.com/office/drawing/2014/chart" uri="{C3380CC4-5D6E-409C-BE32-E72D297353CC}">
                  <c16:uniqueId val="{00000003-529D-42A8-8A77-7DCED897FF3F}"/>
                </c:ext>
              </c:extLst>
            </c:dLbl>
            <c:dLbl>
              <c:idx val="5"/>
              <c:dLblPos val="outEnd"/>
              <c:showLegendKey val="0"/>
              <c:showVal val="0"/>
              <c:showCatName val="1"/>
              <c:showSerName val="0"/>
              <c:showPercent val="0"/>
              <c:showBubbleSize val="0"/>
              <c:extLst>
                <c:ext xmlns:c15="http://schemas.microsoft.com/office/drawing/2012/chart" uri="{CE6537A1-D6FC-4f65-9D91-7224C49458BB}">
                  <c15:layout>
                    <c:manualLayout>
                      <c:w val="0.26719290790835382"/>
                      <c:h val="0.19766609954664247"/>
                    </c:manualLayout>
                  </c15:layout>
                </c:ext>
                <c:ext xmlns:c16="http://schemas.microsoft.com/office/drawing/2014/chart" uri="{C3380CC4-5D6E-409C-BE32-E72D297353CC}">
                  <c16:uniqueId val="{0000000B-529D-42A8-8A77-7DCED897FF3F}"/>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Lora" pitchFamily="2" charset="0"/>
                    <a:ea typeface="+mn-ea"/>
                    <a:cs typeface="+mn-cs"/>
                  </a:defRPr>
                </a:pPr>
                <a:endParaRPr lang="it-IT"/>
              </a:p>
            </c:txPr>
            <c:dLblPos val="outEnd"/>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Immobili</c:v>
                </c:pt>
                <c:pt idx="1">
                  <c:v>Altre attività non finanziarie</c:v>
                </c:pt>
                <c:pt idx="2">
                  <c:v>Depositi</c:v>
                </c:pt>
                <c:pt idx="3">
                  <c:v>Titoli di debito</c:v>
                </c:pt>
                <c:pt idx="4">
                  <c:v>Azioni</c:v>
                </c:pt>
                <c:pt idx="5">
                  <c:v>Quote di fondi comuni</c:v>
                </c:pt>
                <c:pt idx="6">
                  <c:v>Altro</c:v>
                </c:pt>
              </c:strCache>
            </c:strRef>
          </c:cat>
          <c:val>
            <c:numRef>
              <c:f>Sheet1!$B$2:$B$8</c:f>
              <c:numCache>
                <c:formatCode>General</c:formatCode>
                <c:ptCount val="7"/>
                <c:pt idx="0">
                  <c:v>5815679</c:v>
                </c:pt>
                <c:pt idx="1">
                  <c:v>361273</c:v>
                </c:pt>
                <c:pt idx="2">
                  <c:v>1556491</c:v>
                </c:pt>
                <c:pt idx="3">
                  <c:v>247625</c:v>
                </c:pt>
                <c:pt idx="4">
                  <c:v>973962</c:v>
                </c:pt>
                <c:pt idx="5">
                  <c:v>689141</c:v>
                </c:pt>
                <c:pt idx="6">
                  <c:v>365780</c:v>
                </c:pt>
              </c:numCache>
            </c:numRef>
          </c:val>
          <c:extLst>
            <c:ext xmlns:c16="http://schemas.microsoft.com/office/drawing/2014/chart" uri="{C3380CC4-5D6E-409C-BE32-E72D297353CC}">
              <c16:uniqueId val="{0000000E-529D-42A8-8A77-7DCED897FF3F}"/>
            </c:ext>
          </c:extLst>
        </c:ser>
        <c:dLbls>
          <c:dLblPos val="outEnd"/>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a:solidFill>
            <a:sysClr val="windowText" lastClr="000000"/>
          </a:solidFill>
          <a:latin typeface="Lora" pitchFamily="2" charset="0"/>
        </a:defRPr>
      </a:pPr>
      <a:endParaRPr lang="it-IT"/>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vert="horz"/>
          <a:lstStyle/>
          <a:p>
            <a:pPr>
              <a:defRPr sz="1400" b="0"/>
            </a:pPr>
            <a:r>
              <a:rPr lang="en-US" sz="1400" b="0"/>
              <a:t>USA</a:t>
            </a:r>
          </a:p>
        </c:rich>
      </c:tx>
      <c:overlay val="0"/>
      <c:spPr>
        <a:noFill/>
        <a:ln>
          <a:noFill/>
        </a:ln>
        <a:effectLst/>
      </c:spPr>
    </c:title>
    <c:autoTitleDeleted val="0"/>
    <c:plotArea>
      <c:layout>
        <c:manualLayout>
          <c:layoutTarget val="inner"/>
          <c:xMode val="edge"/>
          <c:yMode val="edge"/>
          <c:x val="0.24760638480148586"/>
          <c:y val="0.19846516183664573"/>
          <c:w val="0.45256289879308337"/>
          <c:h val="0.60845271321829497"/>
        </c:manualLayout>
      </c:layout>
      <c:pieChart>
        <c:varyColors val="1"/>
        <c:ser>
          <c:idx val="1"/>
          <c:order val="0"/>
          <c:dPt>
            <c:idx val="0"/>
            <c:bubble3D val="0"/>
            <c:spPr>
              <a:solidFill>
                <a:srgbClr val="002F56"/>
              </a:solidFill>
            </c:spPr>
            <c:extLst>
              <c:ext xmlns:c16="http://schemas.microsoft.com/office/drawing/2014/chart" uri="{C3380CC4-5D6E-409C-BE32-E72D297353CC}">
                <c16:uniqueId val="{00000001-9691-4E2C-8E1F-62349144E541}"/>
              </c:ext>
            </c:extLst>
          </c:dPt>
          <c:dPt>
            <c:idx val="1"/>
            <c:bubble3D val="0"/>
            <c:spPr>
              <a:solidFill>
                <a:srgbClr val="0059A2"/>
              </a:solidFill>
            </c:spPr>
            <c:extLst>
              <c:ext xmlns:c16="http://schemas.microsoft.com/office/drawing/2014/chart" uri="{C3380CC4-5D6E-409C-BE32-E72D297353CC}">
                <c16:uniqueId val="{00000003-9691-4E2C-8E1F-62349144E541}"/>
              </c:ext>
            </c:extLst>
          </c:dPt>
          <c:dPt>
            <c:idx val="2"/>
            <c:bubble3D val="0"/>
            <c:spPr>
              <a:solidFill>
                <a:srgbClr val="0082EE"/>
              </a:solidFill>
            </c:spPr>
            <c:extLst>
              <c:ext xmlns:c16="http://schemas.microsoft.com/office/drawing/2014/chart" uri="{C3380CC4-5D6E-409C-BE32-E72D297353CC}">
                <c16:uniqueId val="{00000005-9691-4E2C-8E1F-62349144E541}"/>
              </c:ext>
            </c:extLst>
          </c:dPt>
          <c:dPt>
            <c:idx val="3"/>
            <c:bubble3D val="0"/>
            <c:spPr>
              <a:solidFill>
                <a:srgbClr val="A1C6E7"/>
              </a:solidFill>
            </c:spPr>
            <c:extLst>
              <c:ext xmlns:c16="http://schemas.microsoft.com/office/drawing/2014/chart" uri="{C3380CC4-5D6E-409C-BE32-E72D297353CC}">
                <c16:uniqueId val="{00000007-9691-4E2C-8E1F-62349144E541}"/>
              </c:ext>
            </c:extLst>
          </c:dPt>
          <c:dPt>
            <c:idx val="4"/>
            <c:bubble3D val="0"/>
            <c:spPr>
              <a:solidFill>
                <a:schemeClr val="bg1">
                  <a:lumMod val="95000"/>
                </a:schemeClr>
              </a:solidFill>
            </c:spPr>
            <c:extLst>
              <c:ext xmlns:c16="http://schemas.microsoft.com/office/drawing/2014/chart" uri="{C3380CC4-5D6E-409C-BE32-E72D297353CC}">
                <c16:uniqueId val="{00000009-9691-4E2C-8E1F-62349144E541}"/>
              </c:ext>
            </c:extLst>
          </c:dPt>
          <c:dPt>
            <c:idx val="5"/>
            <c:bubble3D val="0"/>
            <c:spPr>
              <a:solidFill>
                <a:schemeClr val="bg1">
                  <a:lumMod val="75000"/>
                </a:schemeClr>
              </a:solidFill>
            </c:spPr>
            <c:extLst>
              <c:ext xmlns:c16="http://schemas.microsoft.com/office/drawing/2014/chart" uri="{C3380CC4-5D6E-409C-BE32-E72D297353CC}">
                <c16:uniqueId val="{0000000B-9691-4E2C-8E1F-62349144E541}"/>
              </c:ext>
            </c:extLst>
          </c:dPt>
          <c:dPt>
            <c:idx val="6"/>
            <c:bubble3D val="0"/>
            <c:spPr>
              <a:solidFill>
                <a:schemeClr val="bg1">
                  <a:lumMod val="50000"/>
                </a:schemeClr>
              </a:solidFill>
            </c:spPr>
            <c:extLst>
              <c:ext xmlns:c16="http://schemas.microsoft.com/office/drawing/2014/chart" uri="{C3380CC4-5D6E-409C-BE32-E72D297353CC}">
                <c16:uniqueId val="{0000000D-9691-4E2C-8E1F-62349144E541}"/>
              </c:ext>
            </c:extLst>
          </c:dPt>
          <c:dLbls>
            <c:dLbl>
              <c:idx val="1"/>
              <c:layout>
                <c:manualLayout>
                  <c:x val="-3.0464193435634619E-2"/>
                  <c:y val="-8.1915548425678247E-2"/>
                </c:manualLayout>
              </c:layout>
              <c:dLblPos val="bestFit"/>
              <c:showLegendKey val="0"/>
              <c:showVal val="0"/>
              <c:showCatName val="1"/>
              <c:showSerName val="0"/>
              <c:showPercent val="0"/>
              <c:showBubbleSize val="0"/>
              <c:extLst>
                <c:ext xmlns:c15="http://schemas.microsoft.com/office/drawing/2012/chart" uri="{CE6537A1-D6FC-4f65-9D91-7224C49458BB}">
                  <c15:layout>
                    <c:manualLayout>
                      <c:w val="0.27244618220945932"/>
                      <c:h val="0.25861981587839233"/>
                    </c:manualLayout>
                  </c15:layout>
                </c:ext>
                <c:ext xmlns:c16="http://schemas.microsoft.com/office/drawing/2014/chart" uri="{C3380CC4-5D6E-409C-BE32-E72D297353CC}">
                  <c16:uniqueId val="{00000003-9691-4E2C-8E1F-62349144E541}"/>
                </c:ext>
              </c:extLst>
            </c:dLbl>
            <c:dLbl>
              <c:idx val="2"/>
              <c:layout>
                <c:manualLayout>
                  <c:x val="-3.4760508308895405E-2"/>
                  <c:y val="2.3404508224288797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691-4E2C-8E1F-62349144E541}"/>
                </c:ext>
              </c:extLst>
            </c:dLbl>
            <c:dLbl>
              <c:idx val="3"/>
              <c:layout>
                <c:manualLayout>
                  <c:x val="0"/>
                  <c:y val="-1.0726942350912344E-16"/>
                </c:manualLayout>
              </c:layout>
              <c:dLblPos val="bestFit"/>
              <c:showLegendKey val="0"/>
              <c:showVal val="0"/>
              <c:showCatName val="1"/>
              <c:showSerName val="0"/>
              <c:showPercent val="0"/>
              <c:showBubbleSize val="0"/>
              <c:extLst>
                <c:ext xmlns:c15="http://schemas.microsoft.com/office/drawing/2012/chart" uri="{CE6537A1-D6FC-4f65-9D91-7224C49458BB}">
                  <c15:layout>
                    <c:manualLayout>
                      <c:w val="0.15105887916441069"/>
                      <c:h val="0.13738446327657586"/>
                    </c:manualLayout>
                  </c15:layout>
                </c:ext>
                <c:ext xmlns:c16="http://schemas.microsoft.com/office/drawing/2014/chart" uri="{C3380CC4-5D6E-409C-BE32-E72D297353CC}">
                  <c16:uniqueId val="{00000007-9691-4E2C-8E1F-62349144E541}"/>
                </c:ext>
              </c:extLst>
            </c:dLbl>
            <c:spPr>
              <a:noFill/>
              <a:ln>
                <a:noFill/>
              </a:ln>
              <a:effectLst/>
            </c:spPr>
            <c:txPr>
              <a:bodyPr/>
              <a:lstStyle/>
              <a:p>
                <a:pPr>
                  <a:defRPr sz="800"/>
                </a:pPr>
                <a:endParaRPr lang="it-IT"/>
              </a:p>
            </c:txPr>
            <c:dLblPos val="outEnd"/>
            <c:showLegendKey val="0"/>
            <c:showVal val="0"/>
            <c:showCatName val="1"/>
            <c:showSerName val="0"/>
            <c:showPercent val="0"/>
            <c:showBubbleSize val="0"/>
            <c:showLeaderLines val="0"/>
            <c:extLst>
              <c:ext xmlns:c15="http://schemas.microsoft.com/office/drawing/2012/chart" uri="{CE6537A1-D6FC-4f65-9D91-7224C49458BB}"/>
            </c:extLst>
          </c:dLbls>
          <c:cat>
            <c:strRef>
              <c:f>Sheet1!$D$2:$D$8</c:f>
              <c:strCache>
                <c:ptCount val="7"/>
                <c:pt idx="0">
                  <c:v>Immobili</c:v>
                </c:pt>
                <c:pt idx="1">
                  <c:v>Altre attività non finanziarie</c:v>
                </c:pt>
                <c:pt idx="2">
                  <c:v>Depositi</c:v>
                </c:pt>
                <c:pt idx="3">
                  <c:v>Titoli di debito</c:v>
                </c:pt>
                <c:pt idx="4">
                  <c:v>Azioni</c:v>
                </c:pt>
                <c:pt idx="5">
                  <c:v>Quote di fondi comuni</c:v>
                </c:pt>
                <c:pt idx="6">
                  <c:v>Altro</c:v>
                </c:pt>
              </c:strCache>
            </c:strRef>
          </c:cat>
          <c:val>
            <c:numRef>
              <c:f>Sheet1!$E$2:$E$8</c:f>
              <c:numCache>
                <c:formatCode>General</c:formatCode>
                <c:ptCount val="7"/>
                <c:pt idx="0">
                  <c:v>45531.199999999997</c:v>
                </c:pt>
                <c:pt idx="1">
                  <c:v>8453.1000000000058</c:v>
                </c:pt>
                <c:pt idx="2">
                  <c:v>18519.3</c:v>
                </c:pt>
                <c:pt idx="3">
                  <c:v>3804.6</c:v>
                </c:pt>
                <c:pt idx="4">
                  <c:v>25289.599999999999</c:v>
                </c:pt>
                <c:pt idx="5">
                  <c:v>9968.7000000000007</c:v>
                </c:pt>
                <c:pt idx="6">
                  <c:v>32196.599999999991</c:v>
                </c:pt>
              </c:numCache>
            </c:numRef>
          </c:val>
          <c:extLst>
            <c:ext xmlns:c16="http://schemas.microsoft.com/office/drawing/2014/chart" uri="{C3380CC4-5D6E-409C-BE32-E72D297353CC}">
              <c16:uniqueId val="{0000000E-9691-4E2C-8E1F-62349144E541}"/>
            </c:ext>
          </c:extLst>
        </c:ser>
        <c:dLbls>
          <c:dLblPos val="outEnd"/>
          <c:showLegendKey val="0"/>
          <c:showVal val="1"/>
          <c:showCatName val="0"/>
          <c:showSerName val="0"/>
          <c:showPercent val="0"/>
          <c:showBubbleSize val="0"/>
          <c:showLeaderLines val="0"/>
        </c:dLbls>
        <c:firstSliceAng val="0"/>
      </c:pieChart>
    </c:plotArea>
    <c:plotVisOnly val="1"/>
    <c:dispBlanksAs val="gap"/>
    <c:showDLblsOverMax val="0"/>
  </c:chart>
  <c:spPr>
    <a:noFill/>
    <a:ln w="9525" cap="flat" cmpd="sng" algn="ctr">
      <a:noFill/>
      <a:round/>
    </a:ln>
    <a:effectLst/>
  </c:spPr>
  <c:txPr>
    <a:bodyPr/>
    <a:lstStyle/>
    <a:p>
      <a:pPr>
        <a:defRPr>
          <a:solidFill>
            <a:schemeClr val="tx1"/>
          </a:solidFill>
          <a:latin typeface="Lora" pitchFamily="2" charset="0"/>
        </a:defRPr>
      </a:pPr>
      <a:endParaRPr lang="it-IT"/>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lineChart>
        <c:grouping val="standard"/>
        <c:varyColors val="0"/>
        <c:ser>
          <c:idx val="0"/>
          <c:order val="0"/>
          <c:tx>
            <c:strRef>
              <c:f>'FRED Graph'!$B$11</c:f>
              <c:strCache>
                <c:ptCount val="1"/>
                <c:pt idx="0">
                  <c:v>Days on market</c:v>
                </c:pt>
              </c:strCache>
            </c:strRef>
          </c:tx>
          <c:spPr>
            <a:ln w="28575" cap="rnd">
              <a:solidFill>
                <a:srgbClr val="002F56"/>
              </a:solidFill>
              <a:round/>
            </a:ln>
            <a:effectLst/>
          </c:spPr>
          <c:marker>
            <c:symbol val="none"/>
          </c:marker>
          <c:cat>
            <c:numRef>
              <c:f>'FRED Graph'!$A$12:$A$78</c:f>
              <c:numCache>
                <c:formatCode>yyyy\-mm\-dd</c:formatCode>
                <c:ptCount val="67"/>
                <c:pt idx="0">
                  <c:v>42552</c:v>
                </c:pt>
                <c:pt idx="1">
                  <c:v>42583</c:v>
                </c:pt>
                <c:pt idx="2">
                  <c:v>42614</c:v>
                </c:pt>
                <c:pt idx="3">
                  <c:v>42644</c:v>
                </c:pt>
                <c:pt idx="4">
                  <c:v>42675</c:v>
                </c:pt>
                <c:pt idx="5">
                  <c:v>42705</c:v>
                </c:pt>
                <c:pt idx="6">
                  <c:v>42736</c:v>
                </c:pt>
                <c:pt idx="7">
                  <c:v>42767</c:v>
                </c:pt>
                <c:pt idx="8">
                  <c:v>42795</c:v>
                </c:pt>
                <c:pt idx="9">
                  <c:v>42826</c:v>
                </c:pt>
                <c:pt idx="10">
                  <c:v>42856</c:v>
                </c:pt>
                <c:pt idx="11">
                  <c:v>42887</c:v>
                </c:pt>
                <c:pt idx="12">
                  <c:v>42917</c:v>
                </c:pt>
                <c:pt idx="13">
                  <c:v>42948</c:v>
                </c:pt>
                <c:pt idx="14">
                  <c:v>42979</c:v>
                </c:pt>
                <c:pt idx="15">
                  <c:v>43009</c:v>
                </c:pt>
                <c:pt idx="16">
                  <c:v>43040</c:v>
                </c:pt>
                <c:pt idx="17">
                  <c:v>43070</c:v>
                </c:pt>
                <c:pt idx="18">
                  <c:v>43101</c:v>
                </c:pt>
                <c:pt idx="19">
                  <c:v>43132</c:v>
                </c:pt>
                <c:pt idx="20">
                  <c:v>43160</c:v>
                </c:pt>
                <c:pt idx="21">
                  <c:v>43191</c:v>
                </c:pt>
                <c:pt idx="22">
                  <c:v>43221</c:v>
                </c:pt>
                <c:pt idx="23">
                  <c:v>43252</c:v>
                </c:pt>
                <c:pt idx="24">
                  <c:v>43282</c:v>
                </c:pt>
                <c:pt idx="25">
                  <c:v>43313</c:v>
                </c:pt>
                <c:pt idx="26">
                  <c:v>43344</c:v>
                </c:pt>
                <c:pt idx="27">
                  <c:v>43374</c:v>
                </c:pt>
                <c:pt idx="28">
                  <c:v>43405</c:v>
                </c:pt>
                <c:pt idx="29">
                  <c:v>43435</c:v>
                </c:pt>
                <c:pt idx="30">
                  <c:v>43466</c:v>
                </c:pt>
                <c:pt idx="31">
                  <c:v>43497</c:v>
                </c:pt>
                <c:pt idx="32">
                  <c:v>43525</c:v>
                </c:pt>
                <c:pt idx="33">
                  <c:v>43556</c:v>
                </c:pt>
                <c:pt idx="34">
                  <c:v>43586</c:v>
                </c:pt>
                <c:pt idx="35">
                  <c:v>43617</c:v>
                </c:pt>
                <c:pt idx="36">
                  <c:v>43647</c:v>
                </c:pt>
                <c:pt idx="37">
                  <c:v>43678</c:v>
                </c:pt>
                <c:pt idx="38">
                  <c:v>43709</c:v>
                </c:pt>
                <c:pt idx="39">
                  <c:v>43739</c:v>
                </c:pt>
                <c:pt idx="40">
                  <c:v>43770</c:v>
                </c:pt>
                <c:pt idx="41">
                  <c:v>43800</c:v>
                </c:pt>
                <c:pt idx="42">
                  <c:v>43831</c:v>
                </c:pt>
                <c:pt idx="43">
                  <c:v>43862</c:v>
                </c:pt>
                <c:pt idx="44">
                  <c:v>43891</c:v>
                </c:pt>
                <c:pt idx="45">
                  <c:v>43922</c:v>
                </c:pt>
                <c:pt idx="46">
                  <c:v>43952</c:v>
                </c:pt>
                <c:pt idx="47">
                  <c:v>43983</c:v>
                </c:pt>
                <c:pt idx="48">
                  <c:v>44013</c:v>
                </c:pt>
                <c:pt idx="49">
                  <c:v>44044</c:v>
                </c:pt>
                <c:pt idx="50">
                  <c:v>44075</c:v>
                </c:pt>
                <c:pt idx="51">
                  <c:v>44105</c:v>
                </c:pt>
                <c:pt idx="52">
                  <c:v>44136</c:v>
                </c:pt>
                <c:pt idx="53">
                  <c:v>44166</c:v>
                </c:pt>
                <c:pt idx="54">
                  <c:v>44197</c:v>
                </c:pt>
                <c:pt idx="55">
                  <c:v>44228</c:v>
                </c:pt>
                <c:pt idx="56">
                  <c:v>44256</c:v>
                </c:pt>
                <c:pt idx="57">
                  <c:v>44287</c:v>
                </c:pt>
                <c:pt idx="58">
                  <c:v>44317</c:v>
                </c:pt>
                <c:pt idx="59">
                  <c:v>44348</c:v>
                </c:pt>
                <c:pt idx="60">
                  <c:v>44378</c:v>
                </c:pt>
                <c:pt idx="61">
                  <c:v>44409</c:v>
                </c:pt>
                <c:pt idx="62">
                  <c:v>44440</c:v>
                </c:pt>
                <c:pt idx="63">
                  <c:v>44470</c:v>
                </c:pt>
                <c:pt idx="64">
                  <c:v>44501</c:v>
                </c:pt>
                <c:pt idx="65">
                  <c:v>44531</c:v>
                </c:pt>
                <c:pt idx="66">
                  <c:v>44562</c:v>
                </c:pt>
              </c:numCache>
            </c:numRef>
          </c:cat>
          <c:val>
            <c:numRef>
              <c:f>'FRED Graph'!$B$12:$B$78</c:f>
              <c:numCache>
                <c:formatCode>0</c:formatCode>
                <c:ptCount val="67"/>
                <c:pt idx="0">
                  <c:v>69</c:v>
                </c:pt>
                <c:pt idx="1">
                  <c:v>73</c:v>
                </c:pt>
                <c:pt idx="2">
                  <c:v>78</c:v>
                </c:pt>
                <c:pt idx="3">
                  <c:v>79</c:v>
                </c:pt>
                <c:pt idx="4">
                  <c:v>83</c:v>
                </c:pt>
                <c:pt idx="5">
                  <c:v>92</c:v>
                </c:pt>
                <c:pt idx="6">
                  <c:v>96</c:v>
                </c:pt>
                <c:pt idx="7">
                  <c:v>92</c:v>
                </c:pt>
                <c:pt idx="8">
                  <c:v>71</c:v>
                </c:pt>
                <c:pt idx="9">
                  <c:v>65</c:v>
                </c:pt>
                <c:pt idx="10">
                  <c:v>61</c:v>
                </c:pt>
                <c:pt idx="11">
                  <c:v>61</c:v>
                </c:pt>
                <c:pt idx="12">
                  <c:v>65</c:v>
                </c:pt>
                <c:pt idx="13">
                  <c:v>67</c:v>
                </c:pt>
                <c:pt idx="14">
                  <c:v>71</c:v>
                </c:pt>
                <c:pt idx="15">
                  <c:v>75</c:v>
                </c:pt>
                <c:pt idx="16">
                  <c:v>78</c:v>
                </c:pt>
                <c:pt idx="17">
                  <c:v>85</c:v>
                </c:pt>
                <c:pt idx="18">
                  <c:v>90</c:v>
                </c:pt>
                <c:pt idx="19">
                  <c:v>85</c:v>
                </c:pt>
                <c:pt idx="20">
                  <c:v>65</c:v>
                </c:pt>
                <c:pt idx="21">
                  <c:v>60</c:v>
                </c:pt>
                <c:pt idx="22">
                  <c:v>57</c:v>
                </c:pt>
                <c:pt idx="23">
                  <c:v>57</c:v>
                </c:pt>
                <c:pt idx="24">
                  <c:v>60</c:v>
                </c:pt>
                <c:pt idx="25">
                  <c:v>62</c:v>
                </c:pt>
                <c:pt idx="26">
                  <c:v>65</c:v>
                </c:pt>
                <c:pt idx="27">
                  <c:v>69</c:v>
                </c:pt>
                <c:pt idx="28">
                  <c:v>72</c:v>
                </c:pt>
                <c:pt idx="29">
                  <c:v>81</c:v>
                </c:pt>
                <c:pt idx="30">
                  <c:v>87</c:v>
                </c:pt>
                <c:pt idx="31">
                  <c:v>83</c:v>
                </c:pt>
                <c:pt idx="32">
                  <c:v>65</c:v>
                </c:pt>
                <c:pt idx="33">
                  <c:v>59</c:v>
                </c:pt>
                <c:pt idx="34">
                  <c:v>56</c:v>
                </c:pt>
                <c:pt idx="35">
                  <c:v>57</c:v>
                </c:pt>
                <c:pt idx="36">
                  <c:v>60</c:v>
                </c:pt>
                <c:pt idx="37">
                  <c:v>64</c:v>
                </c:pt>
                <c:pt idx="38">
                  <c:v>66</c:v>
                </c:pt>
                <c:pt idx="39">
                  <c:v>66</c:v>
                </c:pt>
                <c:pt idx="40">
                  <c:v>69</c:v>
                </c:pt>
                <c:pt idx="41">
                  <c:v>79</c:v>
                </c:pt>
                <c:pt idx="42">
                  <c:v>85</c:v>
                </c:pt>
                <c:pt idx="43">
                  <c:v>79</c:v>
                </c:pt>
                <c:pt idx="44">
                  <c:v>59</c:v>
                </c:pt>
                <c:pt idx="45">
                  <c:v>62</c:v>
                </c:pt>
                <c:pt idx="46">
                  <c:v>71</c:v>
                </c:pt>
                <c:pt idx="47">
                  <c:v>69</c:v>
                </c:pt>
                <c:pt idx="48">
                  <c:v>58</c:v>
                </c:pt>
                <c:pt idx="49">
                  <c:v>53</c:v>
                </c:pt>
                <c:pt idx="50">
                  <c:v>51</c:v>
                </c:pt>
                <c:pt idx="51">
                  <c:v>51</c:v>
                </c:pt>
                <c:pt idx="52">
                  <c:v>57</c:v>
                </c:pt>
                <c:pt idx="53">
                  <c:v>64</c:v>
                </c:pt>
                <c:pt idx="54">
                  <c:v>71</c:v>
                </c:pt>
                <c:pt idx="55">
                  <c:v>64</c:v>
                </c:pt>
                <c:pt idx="56">
                  <c:v>48</c:v>
                </c:pt>
                <c:pt idx="57">
                  <c:v>40</c:v>
                </c:pt>
                <c:pt idx="58">
                  <c:v>37</c:v>
                </c:pt>
                <c:pt idx="59">
                  <c:v>36</c:v>
                </c:pt>
                <c:pt idx="60">
                  <c:v>37</c:v>
                </c:pt>
                <c:pt idx="61">
                  <c:v>38</c:v>
                </c:pt>
                <c:pt idx="62">
                  <c:v>42</c:v>
                </c:pt>
                <c:pt idx="63">
                  <c:v>43</c:v>
                </c:pt>
                <c:pt idx="64">
                  <c:v>47</c:v>
                </c:pt>
                <c:pt idx="65">
                  <c:v>54</c:v>
                </c:pt>
                <c:pt idx="66">
                  <c:v>61</c:v>
                </c:pt>
              </c:numCache>
            </c:numRef>
          </c:val>
          <c:smooth val="0"/>
          <c:extLst>
            <c:ext xmlns:c16="http://schemas.microsoft.com/office/drawing/2014/chart" uri="{C3380CC4-5D6E-409C-BE32-E72D297353CC}">
              <c16:uniqueId val="{00000000-7680-41FB-AB10-3230146A5CEF}"/>
            </c:ext>
          </c:extLst>
        </c:ser>
        <c:dLbls>
          <c:showLegendKey val="0"/>
          <c:showVal val="0"/>
          <c:showCatName val="0"/>
          <c:showSerName val="0"/>
          <c:showPercent val="0"/>
          <c:showBubbleSize val="0"/>
        </c:dLbls>
        <c:smooth val="0"/>
        <c:axId val="1400309951"/>
        <c:axId val="1400307455"/>
      </c:lineChart>
      <c:dateAx>
        <c:axId val="1400309951"/>
        <c:scaling>
          <c:orientation val="minMax"/>
        </c:scaling>
        <c:delete val="0"/>
        <c:axPos val="b"/>
        <c:numFmt formatCode="[$-410]mmm\-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Lora" pitchFamily="2" charset="0"/>
                <a:ea typeface="+mn-ea"/>
                <a:cs typeface="Times New Roman" panose="02020603050405020304" pitchFamily="18" charset="0"/>
              </a:defRPr>
            </a:pPr>
            <a:endParaRPr lang="it-IT"/>
          </a:p>
        </c:txPr>
        <c:crossAx val="1400307455"/>
        <c:crosses val="autoZero"/>
        <c:auto val="1"/>
        <c:lblOffset val="100"/>
        <c:baseTimeUnit val="months"/>
        <c:majorUnit val="3"/>
        <c:majorTimeUnit val="months"/>
      </c:dateAx>
      <c:valAx>
        <c:axId val="1400307455"/>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r>
                  <a:rPr lang="it-IT"/>
                  <a:t>Numero di giorni sul mercato</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endParaRPr lang="it-IT"/>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Lora" pitchFamily="2" charset="0"/>
                <a:ea typeface="+mn-ea"/>
                <a:cs typeface="Times New Roman" panose="02020603050405020304" pitchFamily="18" charset="0"/>
              </a:defRPr>
            </a:pPr>
            <a:endParaRPr lang="it-IT"/>
          </a:p>
        </c:txPr>
        <c:crossAx val="1400309951"/>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latin typeface="Lora" pitchFamily="2" charset="0"/>
          <a:cs typeface="Times New Roman" panose="02020603050405020304" pitchFamily="18" charset="0"/>
        </a:defRPr>
      </a:pPr>
      <a:endParaRPr lang="it-IT"/>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scatterChart>
        <c:scatterStyle val="lineMarker"/>
        <c:varyColors val="0"/>
        <c:ser>
          <c:idx val="0"/>
          <c:order val="0"/>
          <c:tx>
            <c:strRef>
              <c:f>'US by State'!$C$192</c:f>
              <c:strCache>
                <c:ptCount val="1"/>
                <c:pt idx="0">
                  <c:v>Q</c:v>
                </c:pt>
              </c:strCache>
            </c:strRef>
          </c:tx>
          <c:spPr>
            <a:ln w="19050" cap="rnd">
              <a:noFill/>
              <a:round/>
            </a:ln>
            <a:effectLst/>
          </c:spPr>
          <c:marker>
            <c:symbol val="circle"/>
            <c:size val="5"/>
            <c:spPr>
              <a:solidFill>
                <a:srgbClr val="002F56"/>
              </a:solidFill>
              <a:ln w="9525">
                <a:solidFill>
                  <a:srgbClr val="002F56"/>
                </a:solidFill>
              </a:ln>
              <a:effectLst/>
            </c:spPr>
          </c:marker>
          <c:xVal>
            <c:numRef>
              <c:f>'US by State'!$B$193:$B$243</c:f>
              <c:numCache>
                <c:formatCode>General</c:formatCode>
                <c:ptCount val="51"/>
                <c:pt idx="0">
                  <c:v>0.80926735311393205</c:v>
                </c:pt>
                <c:pt idx="1">
                  <c:v>0.81726298864591596</c:v>
                </c:pt>
                <c:pt idx="2">
                  <c:v>0.76436531349963699</c:v>
                </c:pt>
                <c:pt idx="3">
                  <c:v>0.727798197806236</c:v>
                </c:pt>
                <c:pt idx="4">
                  <c:v>0.53009021502963205</c:v>
                </c:pt>
                <c:pt idx="5">
                  <c:v>0.75805139463979898</c:v>
                </c:pt>
                <c:pt idx="6">
                  <c:v>0.62049716575279301</c:v>
                </c:pt>
                <c:pt idx="7">
                  <c:v>0.77373775887931295</c:v>
                </c:pt>
                <c:pt idx="8">
                  <c:v>0.72753837400674903</c:v>
                </c:pt>
                <c:pt idx="9">
                  <c:v>0.71865912522879305</c:v>
                </c:pt>
                <c:pt idx="10">
                  <c:v>0.77177758789483797</c:v>
                </c:pt>
                <c:pt idx="11">
                  <c:v>0.72940348629388996</c:v>
                </c:pt>
                <c:pt idx="12">
                  <c:v>0.79531060805360898</c:v>
                </c:pt>
                <c:pt idx="13">
                  <c:v>0.86631754324881705</c:v>
                </c:pt>
                <c:pt idx="14">
                  <c:v>0.72241983494588402</c:v>
                </c:pt>
                <c:pt idx="15">
                  <c:v>0.80867871395640401</c:v>
                </c:pt>
                <c:pt idx="16">
                  <c:v>0.75567618034708095</c:v>
                </c:pt>
                <c:pt idx="17">
                  <c:v>0.77906417587768195</c:v>
                </c:pt>
                <c:pt idx="18">
                  <c:v>0.749724321351385</c:v>
                </c:pt>
                <c:pt idx="19">
                  <c:v>0.67457602266550498</c:v>
                </c:pt>
                <c:pt idx="20">
                  <c:v>0.69327841450233396</c:v>
                </c:pt>
                <c:pt idx="21">
                  <c:v>0.79893246737054302</c:v>
                </c:pt>
                <c:pt idx="22">
                  <c:v>0.75408955276678202</c:v>
                </c:pt>
                <c:pt idx="23">
                  <c:v>0.77994296139302499</c:v>
                </c:pt>
                <c:pt idx="24">
                  <c:v>0.75775150023666105</c:v>
                </c:pt>
                <c:pt idx="25">
                  <c:v>0.85051569457855603</c:v>
                </c:pt>
                <c:pt idx="26">
                  <c:v>0.84173896923411595</c:v>
                </c:pt>
                <c:pt idx="27">
                  <c:v>0.80883367522705196</c:v>
                </c:pt>
                <c:pt idx="28">
                  <c:v>0.81766271741582097</c:v>
                </c:pt>
                <c:pt idx="29">
                  <c:v>0.79470845217097097</c:v>
                </c:pt>
                <c:pt idx="30">
                  <c:v>0.69129511095328</c:v>
                </c:pt>
                <c:pt idx="31">
                  <c:v>0.59962524042990595</c:v>
                </c:pt>
                <c:pt idx="32">
                  <c:v>0.725606288969323</c:v>
                </c:pt>
                <c:pt idx="33">
                  <c:v>0.669078245143509</c:v>
                </c:pt>
                <c:pt idx="34">
                  <c:v>0.73676672641147301</c:v>
                </c:pt>
                <c:pt idx="35">
                  <c:v>0.705859674336764</c:v>
                </c:pt>
                <c:pt idx="36">
                  <c:v>0.71128121088223895</c:v>
                </c:pt>
                <c:pt idx="37">
                  <c:v>0.712962376732586</c:v>
                </c:pt>
                <c:pt idx="38">
                  <c:v>0.7376068528127</c:v>
                </c:pt>
                <c:pt idx="39">
                  <c:v>0.71926199339015695</c:v>
                </c:pt>
                <c:pt idx="40">
                  <c:v>0.79740771043033698</c:v>
                </c:pt>
                <c:pt idx="41">
                  <c:v>0.85822915541184297</c:v>
                </c:pt>
                <c:pt idx="42">
                  <c:v>0.761598905513862</c:v>
                </c:pt>
                <c:pt idx="43">
                  <c:v>0.760161454709819</c:v>
                </c:pt>
                <c:pt idx="44">
                  <c:v>0.76852212508264195</c:v>
                </c:pt>
                <c:pt idx="45">
                  <c:v>0.65435759702547303</c:v>
                </c:pt>
                <c:pt idx="46">
                  <c:v>0.77582554072829801</c:v>
                </c:pt>
                <c:pt idx="47">
                  <c:v>0.75126425120927698</c:v>
                </c:pt>
                <c:pt idx="48">
                  <c:v>0.77279891229947495</c:v>
                </c:pt>
                <c:pt idx="49">
                  <c:v>0.84465547192855694</c:v>
                </c:pt>
                <c:pt idx="50">
                  <c:v>0.757126097336143</c:v>
                </c:pt>
              </c:numCache>
            </c:numRef>
          </c:xVal>
          <c:yVal>
            <c:numRef>
              <c:f>'US by State'!$C$193:$C$243</c:f>
              <c:numCache>
                <c:formatCode>General</c:formatCode>
                <c:ptCount val="51"/>
                <c:pt idx="0">
                  <c:v>7.2469789245407604E-2</c:v>
                </c:pt>
                <c:pt idx="1">
                  <c:v>6.7139578932666796E-2</c:v>
                </c:pt>
                <c:pt idx="2">
                  <c:v>8.0443336178141298E-2</c:v>
                </c:pt>
                <c:pt idx="3">
                  <c:v>9.1212209676580794E-2</c:v>
                </c:pt>
                <c:pt idx="4">
                  <c:v>0.11936158515869499</c:v>
                </c:pt>
                <c:pt idx="5">
                  <c:v>7.5906618698619394E-2</c:v>
                </c:pt>
                <c:pt idx="6">
                  <c:v>0.109717212422706</c:v>
                </c:pt>
                <c:pt idx="7">
                  <c:v>8.4158576056283393E-2</c:v>
                </c:pt>
                <c:pt idx="8">
                  <c:v>8.6545900743563595E-2</c:v>
                </c:pt>
                <c:pt idx="9">
                  <c:v>8.8115168978783298E-2</c:v>
                </c:pt>
                <c:pt idx="10">
                  <c:v>7.3396855850073398E-2</c:v>
                </c:pt>
                <c:pt idx="11">
                  <c:v>9.4017759525557798E-2</c:v>
                </c:pt>
                <c:pt idx="12">
                  <c:v>6.3934204579069898E-2</c:v>
                </c:pt>
                <c:pt idx="13">
                  <c:v>5.1923153638616E-2</c:v>
                </c:pt>
                <c:pt idx="14">
                  <c:v>9.1370055571471404E-2</c:v>
                </c:pt>
                <c:pt idx="15">
                  <c:v>6.9447070746813194E-2</c:v>
                </c:pt>
                <c:pt idx="16">
                  <c:v>8.5064916589141906E-2</c:v>
                </c:pt>
                <c:pt idx="17">
                  <c:v>7.9862914145209393E-2</c:v>
                </c:pt>
                <c:pt idx="18">
                  <c:v>8.2591300655063093E-2</c:v>
                </c:pt>
                <c:pt idx="19">
                  <c:v>9.9368739924222405E-2</c:v>
                </c:pt>
                <c:pt idx="20">
                  <c:v>9.2426980242744303E-2</c:v>
                </c:pt>
                <c:pt idx="21">
                  <c:v>7.5670986934419607E-2</c:v>
                </c:pt>
                <c:pt idx="22">
                  <c:v>7.9174813152534204E-2</c:v>
                </c:pt>
                <c:pt idx="23">
                  <c:v>7.1403246891433902E-2</c:v>
                </c:pt>
                <c:pt idx="24">
                  <c:v>7.9404342843758205E-2</c:v>
                </c:pt>
                <c:pt idx="25">
                  <c:v>5.5282264312202199E-2</c:v>
                </c:pt>
                <c:pt idx="26">
                  <c:v>5.3370039656308398E-2</c:v>
                </c:pt>
                <c:pt idx="27">
                  <c:v>7.2496540859069397E-2</c:v>
                </c:pt>
                <c:pt idx="28">
                  <c:v>6.5508692939381205E-2</c:v>
                </c:pt>
                <c:pt idx="29">
                  <c:v>6.8440970384193403E-2</c:v>
                </c:pt>
                <c:pt idx="30">
                  <c:v>0.104354304392171</c:v>
                </c:pt>
                <c:pt idx="31">
                  <c:v>0.11023481936783799</c:v>
                </c:pt>
                <c:pt idx="32">
                  <c:v>8.9012625234902096E-2</c:v>
                </c:pt>
                <c:pt idx="33">
                  <c:v>9.8887592313508202E-2</c:v>
                </c:pt>
                <c:pt idx="34">
                  <c:v>9.3575218377585298E-2</c:v>
                </c:pt>
                <c:pt idx="35">
                  <c:v>8.4584580264254999E-2</c:v>
                </c:pt>
                <c:pt idx="36">
                  <c:v>8.6329330419848596E-2</c:v>
                </c:pt>
                <c:pt idx="37">
                  <c:v>9.7111365111652706E-2</c:v>
                </c:pt>
                <c:pt idx="38">
                  <c:v>8.8002738173812101E-2</c:v>
                </c:pt>
                <c:pt idx="39">
                  <c:v>8.63736074256546E-2</c:v>
                </c:pt>
                <c:pt idx="40">
                  <c:v>7.2011258666590902E-2</c:v>
                </c:pt>
                <c:pt idx="41">
                  <c:v>5.0230112710435898E-2</c:v>
                </c:pt>
                <c:pt idx="42">
                  <c:v>7.1347595056384397E-2</c:v>
                </c:pt>
                <c:pt idx="43">
                  <c:v>8.3809580735077299E-2</c:v>
                </c:pt>
                <c:pt idx="44">
                  <c:v>7.9693453569073494E-2</c:v>
                </c:pt>
                <c:pt idx="45">
                  <c:v>0.105195178379466</c:v>
                </c:pt>
                <c:pt idx="46">
                  <c:v>7.6495535882042304E-2</c:v>
                </c:pt>
                <c:pt idx="47">
                  <c:v>8.7381944785315399E-2</c:v>
                </c:pt>
                <c:pt idx="48">
                  <c:v>7.5626654289147194E-2</c:v>
                </c:pt>
                <c:pt idx="49">
                  <c:v>6.29801522219985E-2</c:v>
                </c:pt>
                <c:pt idx="50">
                  <c:v>7.9772717758561401E-2</c:v>
                </c:pt>
              </c:numCache>
            </c:numRef>
          </c:yVal>
          <c:smooth val="0"/>
          <c:extLst>
            <c:ext xmlns:c16="http://schemas.microsoft.com/office/drawing/2014/chart" uri="{C3380CC4-5D6E-409C-BE32-E72D297353CC}">
              <c16:uniqueId val="{00000000-062B-4310-A9B9-786062644BD7}"/>
            </c:ext>
          </c:extLst>
        </c:ser>
        <c:dLbls>
          <c:showLegendKey val="0"/>
          <c:showVal val="0"/>
          <c:showCatName val="0"/>
          <c:showSerName val="0"/>
          <c:showPercent val="0"/>
          <c:showBubbleSize val="0"/>
        </c:dLbls>
        <c:axId val="378260383"/>
        <c:axId val="389168495"/>
      </c:scatterChart>
      <c:valAx>
        <c:axId val="378260383"/>
        <c:scaling>
          <c:orientation val="minMax"/>
          <c:max val="0.87000000000000011"/>
          <c:min val="0.52"/>
        </c:scaling>
        <c:delete val="0"/>
        <c:axPos val="b"/>
        <c:title>
          <c:tx>
            <c:rich>
              <a:bodyPr rot="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r>
                  <a:rPr lang="en-US"/>
                  <a:t>Entropia</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endParaRPr lang="it-IT"/>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Lora" pitchFamily="2" charset="0"/>
                <a:ea typeface="+mn-ea"/>
                <a:cs typeface="Times New Roman" panose="02020603050405020304" pitchFamily="18" charset="0"/>
              </a:defRPr>
            </a:pPr>
            <a:endParaRPr lang="it-IT"/>
          </a:p>
        </c:txPr>
        <c:crossAx val="389168495"/>
        <c:crosses val="autoZero"/>
        <c:crossBetween val="midCat"/>
      </c:valAx>
      <c:valAx>
        <c:axId val="389168495"/>
        <c:scaling>
          <c:orientation val="minMax"/>
          <c:max val="0.12000000000000001"/>
          <c:min val="4.0000000000000008E-2"/>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r>
                  <a:rPr lang="en-US"/>
                  <a:t>Complessità</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endParaRPr lang="it-IT"/>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Lora" pitchFamily="2" charset="0"/>
                <a:ea typeface="+mn-ea"/>
                <a:cs typeface="Times New Roman" panose="02020603050405020304" pitchFamily="18" charset="0"/>
              </a:defRPr>
            </a:pPr>
            <a:endParaRPr lang="it-IT"/>
          </a:p>
        </c:txPr>
        <c:crossAx val="378260383"/>
        <c:crosses val="autoZero"/>
        <c:crossBetween val="midCat"/>
      </c:valAx>
      <c:spPr>
        <a:noFill/>
        <a:ln>
          <a:noFill/>
        </a:ln>
        <a:effectLst/>
      </c:spPr>
    </c:plotArea>
    <c:plotVisOnly val="1"/>
    <c:dispBlanksAs val="gap"/>
    <c:showDLblsOverMax val="0"/>
  </c:chart>
  <c:spPr>
    <a:noFill/>
    <a:ln>
      <a:noFill/>
    </a:ln>
    <a:effectLst/>
  </c:spPr>
  <c:txPr>
    <a:bodyPr/>
    <a:lstStyle/>
    <a:p>
      <a:pPr>
        <a:defRPr>
          <a:solidFill>
            <a:schemeClr val="tx1"/>
          </a:solidFill>
          <a:latin typeface="Lora" pitchFamily="2" charset="0"/>
          <a:cs typeface="Times New Roman" panose="02020603050405020304" pitchFamily="18" charset="0"/>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2.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5.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C39BF3-8153-4EA1-A851-804F7B1ED028}"/>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r>
              <a:rPr lang="it-IT" dirty="0"/>
              <a:t>Ettore Minelli - Tesi di Laurea Magistrale in Economia e Legislazione D'impresa</a:t>
            </a:r>
          </a:p>
        </p:txBody>
      </p:sp>
      <p:sp>
        <p:nvSpPr>
          <p:cNvPr id="3" name="Date Placeholder 2">
            <a:extLst>
              <a:ext uri="{FF2B5EF4-FFF2-40B4-BE49-F238E27FC236}">
                <a16:creationId xmlns:a16="http://schemas.microsoft.com/office/drawing/2014/main" id="{407C0814-9817-454C-817F-9881BAAF0EF4}"/>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3829B9C1-F50E-4ECC-A9D1-D40F1348B1F3}" type="datetimeFigureOut">
              <a:rPr lang="it-IT" smtClean="0"/>
              <a:t>15/12/2022</a:t>
            </a:fld>
            <a:endParaRPr lang="it-IT"/>
          </a:p>
        </p:txBody>
      </p:sp>
      <p:sp>
        <p:nvSpPr>
          <p:cNvPr id="4" name="Footer Placeholder 3">
            <a:extLst>
              <a:ext uri="{FF2B5EF4-FFF2-40B4-BE49-F238E27FC236}">
                <a16:creationId xmlns:a16="http://schemas.microsoft.com/office/drawing/2014/main" id="{472D95DB-22FD-4D0B-BC41-1F5852BD9E66}"/>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it-IT"/>
          </a:p>
        </p:txBody>
      </p:sp>
      <p:sp>
        <p:nvSpPr>
          <p:cNvPr id="5" name="Slide Number Placeholder 4">
            <a:extLst>
              <a:ext uri="{FF2B5EF4-FFF2-40B4-BE49-F238E27FC236}">
                <a16:creationId xmlns:a16="http://schemas.microsoft.com/office/drawing/2014/main" id="{DD8D2AB5-32D7-4DB4-AC01-D8BAB345894F}"/>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1465FA52-0DE6-4D04-8FAF-1F642F7066A0}" type="slidenum">
              <a:rPr lang="it-IT" smtClean="0"/>
              <a:t>‹#›</a:t>
            </a:fld>
            <a:endParaRPr lang="it-IT"/>
          </a:p>
        </p:txBody>
      </p:sp>
    </p:spTree>
    <p:extLst>
      <p:ext uri="{BB962C8B-B14F-4D97-AF65-F5344CB8AC3E}">
        <p14:creationId xmlns:p14="http://schemas.microsoft.com/office/powerpoint/2010/main" val="1894414010"/>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r>
              <a:rPr lang="it-IT"/>
              <a:t>Ettore Minelli - Tesi di Laurea Magistrale in Economia e Legislazione D'impresa</a:t>
            </a: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2465814D-9BD9-4FD8-9638-BD0DA6E1C348}" type="datetimeFigureOut">
              <a:rPr lang="it-IT" smtClean="0"/>
              <a:t>15/12/2022</a:t>
            </a:fld>
            <a:endParaRPr lang="it-IT"/>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it-IT"/>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it-IT"/>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E0891A85-5DFB-45B1-90DB-B57A7A72B83B}" type="slidenum">
              <a:rPr lang="it-IT" smtClean="0"/>
              <a:t>‹#›</a:t>
            </a:fld>
            <a:endParaRPr lang="it-IT"/>
          </a:p>
        </p:txBody>
      </p:sp>
    </p:spTree>
    <p:extLst>
      <p:ext uri="{BB962C8B-B14F-4D97-AF65-F5344CB8AC3E}">
        <p14:creationId xmlns:p14="http://schemas.microsoft.com/office/powerpoint/2010/main" val="2404736542"/>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Header Placeholder 3"/>
          <p:cNvSpPr>
            <a:spLocks noGrp="1"/>
          </p:cNvSpPr>
          <p:nvPr>
            <p:ph type="hdr" sz="quarter"/>
          </p:nvPr>
        </p:nvSpPr>
        <p:spPr/>
        <p:txBody>
          <a:bodyPr/>
          <a:lstStyle/>
          <a:p>
            <a:r>
              <a:rPr lang="it-IT"/>
              <a:t>Ettore Minelli - Tesi di Laurea Magistrale in Economia e Legislazione D'impresa</a:t>
            </a:r>
          </a:p>
        </p:txBody>
      </p:sp>
      <p:sp>
        <p:nvSpPr>
          <p:cNvPr id="5" name="Slide Number Placeholder 4"/>
          <p:cNvSpPr>
            <a:spLocks noGrp="1"/>
          </p:cNvSpPr>
          <p:nvPr>
            <p:ph type="sldNum" sz="quarter" idx="5"/>
          </p:nvPr>
        </p:nvSpPr>
        <p:spPr/>
        <p:txBody>
          <a:bodyPr/>
          <a:lstStyle/>
          <a:p>
            <a:fld id="{E0891A85-5DFB-45B1-90DB-B57A7A72B83B}" type="slidenum">
              <a:rPr lang="it-IT" smtClean="0"/>
              <a:t>3</a:t>
            </a:fld>
            <a:endParaRPr lang="it-IT"/>
          </a:p>
        </p:txBody>
      </p:sp>
    </p:spTree>
    <p:extLst>
      <p:ext uri="{BB962C8B-B14F-4D97-AF65-F5344CB8AC3E}">
        <p14:creationId xmlns:p14="http://schemas.microsoft.com/office/powerpoint/2010/main" val="25973233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F6FA34-4CD8-4D64-8E8C-11012D4476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t-IT"/>
          </a:p>
        </p:txBody>
      </p:sp>
      <p:sp>
        <p:nvSpPr>
          <p:cNvPr id="3" name="Subtitle 2">
            <a:extLst>
              <a:ext uri="{FF2B5EF4-FFF2-40B4-BE49-F238E27FC236}">
                <a16:creationId xmlns:a16="http://schemas.microsoft.com/office/drawing/2014/main" id="{8E6E41DE-9F83-4EAD-BDD7-EF2BF88F5D8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
        <p:nvSpPr>
          <p:cNvPr id="4" name="Date Placeholder 3">
            <a:extLst>
              <a:ext uri="{FF2B5EF4-FFF2-40B4-BE49-F238E27FC236}">
                <a16:creationId xmlns:a16="http://schemas.microsoft.com/office/drawing/2014/main" id="{8C896093-A7C8-474C-9666-7787C62C4385}"/>
              </a:ext>
            </a:extLst>
          </p:cNvPr>
          <p:cNvSpPr>
            <a:spLocks noGrp="1"/>
          </p:cNvSpPr>
          <p:nvPr>
            <p:ph type="dt" sz="half" idx="10"/>
          </p:nvPr>
        </p:nvSpPr>
        <p:spPr/>
        <p:txBody>
          <a:bodyPr/>
          <a:lstStyle/>
          <a:p>
            <a:fld id="{51EE0504-B328-469E-9698-27BDE4C373B6}" type="datetime1">
              <a:rPr lang="it-IT" smtClean="0"/>
              <a:t>15/12/2022</a:t>
            </a:fld>
            <a:endParaRPr lang="it-IT"/>
          </a:p>
        </p:txBody>
      </p:sp>
      <p:sp>
        <p:nvSpPr>
          <p:cNvPr id="5" name="Footer Placeholder 4">
            <a:extLst>
              <a:ext uri="{FF2B5EF4-FFF2-40B4-BE49-F238E27FC236}">
                <a16:creationId xmlns:a16="http://schemas.microsoft.com/office/drawing/2014/main" id="{5C6783AD-6AA8-48F9-A75D-4E07388E7FE2}"/>
              </a:ext>
            </a:extLst>
          </p:cNvPr>
          <p:cNvSpPr>
            <a:spLocks noGrp="1"/>
          </p:cNvSpPr>
          <p:nvPr>
            <p:ph type="ftr" sz="quarter" idx="11"/>
          </p:nvPr>
        </p:nvSpPr>
        <p:spPr/>
        <p:txBody>
          <a:bodyPr/>
          <a:lstStyle/>
          <a:p>
            <a:r>
              <a:rPr lang="it-IT"/>
              <a:t>La frazionalizzazione della proprietà di asset class illiquide - La ricerca di un nuovo veicolo di investimento immobiliare</a:t>
            </a:r>
          </a:p>
        </p:txBody>
      </p:sp>
      <p:sp>
        <p:nvSpPr>
          <p:cNvPr id="6" name="Slide Number Placeholder 5">
            <a:extLst>
              <a:ext uri="{FF2B5EF4-FFF2-40B4-BE49-F238E27FC236}">
                <a16:creationId xmlns:a16="http://schemas.microsoft.com/office/drawing/2014/main" id="{82EE87E7-7BE6-4170-8E84-C2730C0DAB5E}"/>
              </a:ext>
            </a:extLst>
          </p:cNvPr>
          <p:cNvSpPr>
            <a:spLocks noGrp="1"/>
          </p:cNvSpPr>
          <p:nvPr>
            <p:ph type="sldNum" sz="quarter" idx="12"/>
          </p:nvPr>
        </p:nvSpPr>
        <p:spPr/>
        <p:txBody>
          <a:bodyPr/>
          <a:lstStyle/>
          <a:p>
            <a:fld id="{E02D09AF-C995-48EF-A698-0B5E73F417BD}" type="slidenum">
              <a:rPr lang="it-IT" smtClean="0"/>
              <a:t>‹#›</a:t>
            </a:fld>
            <a:endParaRPr lang="it-IT"/>
          </a:p>
        </p:txBody>
      </p:sp>
    </p:spTree>
    <p:extLst>
      <p:ext uri="{BB962C8B-B14F-4D97-AF65-F5344CB8AC3E}">
        <p14:creationId xmlns:p14="http://schemas.microsoft.com/office/powerpoint/2010/main" val="333913955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7E551E1-6192-4CC1-8EA2-86776705AE20}"/>
              </a:ext>
            </a:extLst>
          </p:cNvPr>
          <p:cNvGraphicFramePr>
            <a:graphicFrameLocks noChangeAspect="1"/>
          </p:cNvGraphicFramePr>
          <p:nvPr userDrawn="1">
            <p:custDataLst>
              <p:tags r:id="rId3"/>
            </p:custDataLst>
            <p:extLst>
              <p:ext uri="{D42A27DB-BD31-4B8C-83A1-F6EECF244321}">
                <p14:modId xmlns:p14="http://schemas.microsoft.com/office/powerpoint/2010/main" val="4152718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Object 7" hidden="1">
                        <a:extLst>
                          <a:ext uri="{FF2B5EF4-FFF2-40B4-BE49-F238E27FC236}">
                            <a16:creationId xmlns:a16="http://schemas.microsoft.com/office/drawing/2014/main" id="{F7E551E1-6192-4CC1-8EA2-86776705AE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5606117-647E-4D01-AE98-31B6A3F67C3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t-IT"/>
          </a:p>
        </p:txBody>
      </p:sp>
      <p:sp>
        <p:nvSpPr>
          <p:cNvPr id="3" name="Text Placeholder 2">
            <a:extLst>
              <a:ext uri="{FF2B5EF4-FFF2-40B4-BE49-F238E27FC236}">
                <a16:creationId xmlns:a16="http://schemas.microsoft.com/office/drawing/2014/main" id="{6DB48DC1-8589-49B9-BD67-60570A7EBDA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a:extLst>
              <a:ext uri="{FF2B5EF4-FFF2-40B4-BE49-F238E27FC236}">
                <a16:creationId xmlns:a16="http://schemas.microsoft.com/office/drawing/2014/main" id="{EDD67B1F-8998-4364-8EFA-AE272E258CA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D210BBD-32B7-4792-A5DD-566C39FAD464}" type="datetime1">
              <a:rPr lang="it-IT" smtClean="0"/>
              <a:t>15/12/2022</a:t>
            </a:fld>
            <a:endParaRPr lang="it-IT"/>
          </a:p>
        </p:txBody>
      </p:sp>
      <p:sp>
        <p:nvSpPr>
          <p:cNvPr id="5" name="Footer Placeholder 4">
            <a:extLst>
              <a:ext uri="{FF2B5EF4-FFF2-40B4-BE49-F238E27FC236}">
                <a16:creationId xmlns:a16="http://schemas.microsoft.com/office/drawing/2014/main" id="{F9F94A47-1355-4E1C-9DE1-89953A71214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it-IT"/>
              <a:t>La frazionalizzazione della proprietà di asset class illiquide - La ricerca di un nuovo veicolo di investimento immobiliare</a:t>
            </a:r>
          </a:p>
        </p:txBody>
      </p:sp>
      <p:sp>
        <p:nvSpPr>
          <p:cNvPr id="6" name="Slide Number Placeholder 5">
            <a:extLst>
              <a:ext uri="{FF2B5EF4-FFF2-40B4-BE49-F238E27FC236}">
                <a16:creationId xmlns:a16="http://schemas.microsoft.com/office/drawing/2014/main" id="{EA841EB0-4E3F-4C98-BB00-399F97C991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2D09AF-C995-48EF-A698-0B5E73F417BD}" type="slidenum">
              <a:rPr lang="it-IT" smtClean="0"/>
              <a:t>‹#›</a:t>
            </a:fld>
            <a:endParaRPr lang="it-IT"/>
          </a:p>
        </p:txBody>
      </p:sp>
    </p:spTree>
    <p:extLst>
      <p:ext uri="{BB962C8B-B14F-4D97-AF65-F5344CB8AC3E}">
        <p14:creationId xmlns:p14="http://schemas.microsoft.com/office/powerpoint/2010/main" val="28927288"/>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2.jpe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xml"/><Relationship Id="rId1" Type="http://schemas.openxmlformats.org/officeDocument/2006/relationships/tags" Target="../tags/tag13.xml"/><Relationship Id="rId6" Type="http://schemas.openxmlformats.org/officeDocument/2006/relationships/image" Target="../media/image11.png"/><Relationship Id="rId5" Type="http://schemas.openxmlformats.org/officeDocument/2006/relationships/image" Target="../media/image2.jpe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2.jpe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2.jpe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notesSlide" Target="../notesSlides/notesSlide1.xml"/><Relationship Id="rId7" Type="http://schemas.openxmlformats.org/officeDocument/2006/relationships/chart" Target="../charts/chart1.xml"/><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2.jpeg"/><Relationship Id="rId5" Type="http://schemas.openxmlformats.org/officeDocument/2006/relationships/image" Target="../media/image1.emf"/><Relationship Id="rId10" Type="http://schemas.openxmlformats.org/officeDocument/2006/relationships/chart" Target="../charts/chart4.xml"/><Relationship Id="rId4" Type="http://schemas.openxmlformats.org/officeDocument/2006/relationships/oleObject" Target="../embeddings/oleObject4.bin"/><Relationship Id="rId9" Type="http://schemas.openxmlformats.org/officeDocument/2006/relationships/chart" Target="../charts/chart3.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chart" Target="../charts/chart5.xml"/><Relationship Id="rId5" Type="http://schemas.openxmlformats.org/officeDocument/2006/relationships/image" Target="../media/image2.jpe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12"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chart" Target="../charts/chart6.xml"/><Relationship Id="rId11" Type="http://schemas.openxmlformats.org/officeDocument/2006/relationships/image" Target="../media/image5.png"/><Relationship Id="rId5" Type="http://schemas.openxmlformats.org/officeDocument/2006/relationships/image" Target="../media/image2.jpeg"/><Relationship Id="rId10" Type="http://schemas.openxmlformats.org/officeDocument/2006/relationships/image" Target="../media/image4.png"/><Relationship Id="rId4" Type="http://schemas.openxmlformats.org/officeDocument/2006/relationships/image" Target="../media/image1.emf"/><Relationship Id="rId9"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2.jpe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9.xml"/><Relationship Id="rId5" Type="http://schemas.openxmlformats.org/officeDocument/2006/relationships/image" Target="../media/image2.jpe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2.jpe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10.svg"/><Relationship Id="rId2" Type="http://schemas.openxmlformats.org/officeDocument/2006/relationships/slideLayout" Target="../slideLayouts/slideLayout1.xml"/><Relationship Id="rId1" Type="http://schemas.openxmlformats.org/officeDocument/2006/relationships/tags" Target="../tags/tag11.xml"/><Relationship Id="rId6" Type="http://schemas.openxmlformats.org/officeDocument/2006/relationships/image" Target="../media/image9.png"/><Relationship Id="rId5" Type="http://schemas.openxmlformats.org/officeDocument/2006/relationships/image" Target="../media/image2.jpe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extLst>
              <p:ext uri="{D42A27DB-BD31-4B8C-83A1-F6EECF244321}">
                <p14:modId xmlns:p14="http://schemas.microsoft.com/office/powerpoint/2010/main" val="2602012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AB0E53A2-F3CE-472C-B1FC-992D6D27C4C9}" type="datetime1">
              <a:rPr lang="it-IT" sz="1000" smtClean="0">
                <a:latin typeface="Lora" pitchFamily="2" charset="0"/>
                <a:ea typeface="Inter" panose="02000503000000020004" pitchFamily="2" charset="0"/>
              </a:rPr>
              <a:t>15/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1</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it-IT" sz="2400" b="1" dirty="0">
                <a:solidFill>
                  <a:schemeClr val="tx1"/>
                </a:solidFill>
                <a:latin typeface="Lora" pitchFamily="2" charset="0"/>
                <a:ea typeface="Inter" panose="02000503000000020004" pitchFamily="2" charset="0"/>
              </a:rPr>
              <a:t>La </a:t>
            </a:r>
            <a:r>
              <a:rPr lang="it-IT" sz="2400" b="1" dirty="0" err="1">
                <a:solidFill>
                  <a:schemeClr val="tx1"/>
                </a:solidFill>
                <a:latin typeface="Lora" pitchFamily="2" charset="0"/>
                <a:ea typeface="Inter" panose="02000503000000020004" pitchFamily="2" charset="0"/>
              </a:rPr>
              <a:t>frazionalizzazione</a:t>
            </a:r>
            <a:r>
              <a:rPr lang="it-IT" sz="2400" b="1" dirty="0">
                <a:solidFill>
                  <a:schemeClr val="tx1"/>
                </a:solidFill>
                <a:latin typeface="Lora" pitchFamily="2" charset="0"/>
                <a:ea typeface="Inter" panose="02000503000000020004" pitchFamily="2" charset="0"/>
              </a:rPr>
              <a:t> della proprietà di asset class illiquide - La ricerca di un nuovo veicolo di investimento immobiliare</a:t>
            </a:r>
          </a:p>
          <a:p>
            <a:endParaRPr lang="it-IT" sz="2400" b="1" dirty="0">
              <a:solidFill>
                <a:schemeClr val="tx1"/>
              </a:solidFill>
              <a:latin typeface="Lora" pitchFamily="2" charset="0"/>
              <a:ea typeface="Inter" panose="02000503000000020004" pitchFamily="2" charset="0"/>
            </a:endParaRPr>
          </a:p>
          <a:p>
            <a:r>
              <a:rPr lang="it-IT" sz="1200" dirty="0">
                <a:solidFill>
                  <a:schemeClr val="tx1"/>
                </a:solidFill>
                <a:latin typeface="Lora" pitchFamily="2" charset="0"/>
                <a:ea typeface="Inter" panose="02000503000000020004" pitchFamily="2" charset="0"/>
              </a:rPr>
              <a:t>Ettore Minelli</a:t>
            </a:r>
          </a:p>
        </p:txBody>
      </p:sp>
      <p:sp>
        <p:nvSpPr>
          <p:cNvPr id="16" name="Rectangle 15">
            <a:extLst>
              <a:ext uri="{FF2B5EF4-FFF2-40B4-BE49-F238E27FC236}">
                <a16:creationId xmlns:a16="http://schemas.microsoft.com/office/drawing/2014/main" id="{6A1D0711-6C04-41FE-8C4D-618851F6D4CD}"/>
              </a:ext>
            </a:extLst>
          </p:cNvPr>
          <p:cNvSpPr/>
          <p:nvPr/>
        </p:nvSpPr>
        <p:spPr>
          <a:xfrm>
            <a:off x="6111711" y="537328"/>
            <a:ext cx="5030771" cy="5062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algn="ctr"/>
            <a:r>
              <a:rPr lang="it-IT" sz="2400" b="1" dirty="0">
                <a:solidFill>
                  <a:schemeClr val="tx1"/>
                </a:solidFill>
                <a:latin typeface="Lora" pitchFamily="2" charset="0"/>
                <a:ea typeface="Inter" panose="02000503000000020004" pitchFamily="2" charset="0"/>
              </a:rPr>
              <a:t>Indice</a:t>
            </a:r>
          </a:p>
          <a:p>
            <a:pPr algn="ctr"/>
            <a:endParaRPr lang="it-IT" sz="2400" b="1" dirty="0">
              <a:solidFill>
                <a:schemeClr val="tx1"/>
              </a:solidFill>
              <a:latin typeface="Lora" pitchFamily="2" charset="0"/>
              <a:ea typeface="Inter" panose="02000503000000020004" pitchFamily="2" charset="0"/>
            </a:endParaRPr>
          </a:p>
          <a:p>
            <a:pPr marL="457200" indent="-457200">
              <a:buFont typeface="+mj-lt"/>
              <a:buAutoNum type="arabicParenR"/>
            </a:pPr>
            <a:r>
              <a:rPr lang="it-IT" sz="1600" i="1" dirty="0">
                <a:solidFill>
                  <a:schemeClr val="tx1"/>
                </a:solidFill>
                <a:latin typeface="Lora" pitchFamily="2" charset="0"/>
                <a:ea typeface="Inter" panose="02000503000000020004" pitchFamily="2" charset="0"/>
              </a:rPr>
              <a:t>The vision</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L’importanza del mercato immobiliare nell’economia</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Le inefficienze del mercato immobiliare</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Test di efficienza ed evidenze empiriche – USA e Italia</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Quali sono i benefici nell’efficientare il mercato immobiliare e come avvicinarsi all’efficienza all’atto pratico?</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Perché la </a:t>
            </a:r>
            <a:r>
              <a:rPr lang="it-IT" sz="1600" dirty="0" err="1">
                <a:solidFill>
                  <a:schemeClr val="tx1"/>
                </a:solidFill>
                <a:latin typeface="Lora" pitchFamily="2" charset="0"/>
                <a:ea typeface="Inter" panose="02000503000000020004" pitchFamily="2" charset="0"/>
              </a:rPr>
              <a:t>frazionalizzazione</a:t>
            </a:r>
            <a:r>
              <a:rPr lang="it-IT" sz="1600" dirty="0">
                <a:solidFill>
                  <a:schemeClr val="tx1"/>
                </a:solidFill>
                <a:latin typeface="Lora" pitchFamily="2" charset="0"/>
                <a:ea typeface="Inter" panose="02000503000000020004" pitchFamily="2" charset="0"/>
              </a:rPr>
              <a:t>?</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Perché i sistemi blockchain e gli strumenti derivati non sono una soluzione?</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Perché il Trust è la soluzione</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I costi del trust</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Ricerche e applicazioni future</a:t>
            </a:r>
          </a:p>
          <a:p>
            <a:pPr marL="457200" indent="-457200">
              <a:buFont typeface="+mj-lt"/>
              <a:buAutoNum type="arabicParenR"/>
            </a:pPr>
            <a:endParaRPr lang="it-IT" sz="1600" dirty="0">
              <a:solidFill>
                <a:schemeClr val="tx1"/>
              </a:solidFill>
              <a:latin typeface="Lora" pitchFamily="2" charset="0"/>
              <a:ea typeface="Inter" panose="02000503000000020004" pitchFamily="2" charset="0"/>
            </a:endParaRPr>
          </a:p>
          <a:p>
            <a:pPr marL="457200" indent="-457200">
              <a:buFont typeface="+mj-lt"/>
              <a:buAutoNum type="arabicParenR"/>
            </a:pPr>
            <a:endParaRPr lang="it-IT" sz="1600" dirty="0">
              <a:solidFill>
                <a:schemeClr val="tx1"/>
              </a:solidFill>
              <a:latin typeface="Lora" pitchFamily="2" charset="0"/>
              <a:ea typeface="Inter" panose="02000503000000020004" pitchFamily="2" charset="0"/>
            </a:endParaRPr>
          </a:p>
          <a:p>
            <a:pPr marL="457200" indent="-457200">
              <a:buFont typeface="+mj-lt"/>
              <a:buAutoNum type="arabicParenR"/>
            </a:pPr>
            <a:endParaRPr lang="it-IT" sz="1600" dirty="0">
              <a:solidFill>
                <a:schemeClr val="tx1"/>
              </a:solidFill>
              <a:latin typeface="Lora" pitchFamily="2" charset="0"/>
              <a:ea typeface="Inter" panose="02000503000000020004" pitchFamily="2" charset="0"/>
            </a:endParaRPr>
          </a:p>
        </p:txBody>
      </p:sp>
    </p:spTree>
    <p:extLst>
      <p:ext uri="{BB962C8B-B14F-4D97-AF65-F5344CB8AC3E}">
        <p14:creationId xmlns:p14="http://schemas.microsoft.com/office/powerpoint/2010/main" val="1704085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F9E00698-F016-42FF-9913-BB9A4623ED67}" type="datetime1">
              <a:rPr lang="it-IT" sz="1000" smtClean="0">
                <a:latin typeface="Lora" pitchFamily="2" charset="0"/>
                <a:ea typeface="Inter" panose="02000503000000020004" pitchFamily="2" charset="0"/>
              </a:rPr>
              <a:t>15/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10</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1" y="537328"/>
            <a:ext cx="3639540"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Separazione patrimoniale fra </a:t>
            </a:r>
            <a:r>
              <a:rPr lang="it-IT" sz="1600" dirty="0" err="1">
                <a:solidFill>
                  <a:schemeClr val="tx1"/>
                </a:solidFill>
                <a:latin typeface="Lora" pitchFamily="2" charset="0"/>
                <a:ea typeface="Inter" panose="02000503000000020004" pitchFamily="2" charset="0"/>
              </a:rPr>
              <a:t>settlor</a:t>
            </a:r>
            <a:r>
              <a:rPr lang="it-IT" sz="1600" dirty="0">
                <a:solidFill>
                  <a:schemeClr val="tx1"/>
                </a:solidFill>
                <a:latin typeface="Lora" pitchFamily="2" charset="0"/>
                <a:ea typeface="Inter" panose="02000503000000020004" pitchFamily="2" charset="0"/>
              </a:rPr>
              <a:t> e beneficiario</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Scambio di «</a:t>
            </a:r>
            <a:r>
              <a:rPr lang="it-IT" sz="1600" i="1" dirty="0">
                <a:solidFill>
                  <a:schemeClr val="tx1"/>
                </a:solidFill>
                <a:latin typeface="Lora" pitchFamily="2" charset="0"/>
                <a:ea typeface="Inter" panose="02000503000000020004" pitchFamily="2" charset="0"/>
              </a:rPr>
              <a:t>quote»</a:t>
            </a:r>
            <a:r>
              <a:rPr lang="it-IT" sz="1600" dirty="0">
                <a:solidFill>
                  <a:schemeClr val="tx1"/>
                </a:solidFill>
                <a:latin typeface="Lora" pitchFamily="2" charset="0"/>
                <a:ea typeface="Inter" panose="02000503000000020004" pitchFamily="2" charset="0"/>
              </a:rPr>
              <a:t> senza l’ausilio di depositari centrali</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Costi amministrativi limitati</a:t>
            </a: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Perché il Trust è la soluzione</a:t>
            </a:r>
          </a:p>
        </p:txBody>
      </p:sp>
      <p:graphicFrame>
        <p:nvGraphicFramePr>
          <p:cNvPr id="3" name="Table 2">
            <a:extLst>
              <a:ext uri="{FF2B5EF4-FFF2-40B4-BE49-F238E27FC236}">
                <a16:creationId xmlns:a16="http://schemas.microsoft.com/office/drawing/2014/main" id="{254288FD-F55A-4AC8-B44E-4ECCD0A67F6E}"/>
              </a:ext>
            </a:extLst>
          </p:cNvPr>
          <p:cNvGraphicFramePr>
            <a:graphicFrameLocks noGrp="1"/>
          </p:cNvGraphicFramePr>
          <p:nvPr>
            <p:extLst>
              <p:ext uri="{D42A27DB-BD31-4B8C-83A1-F6EECF244321}">
                <p14:modId xmlns:p14="http://schemas.microsoft.com/office/powerpoint/2010/main" val="1483774327"/>
              </p:ext>
            </p:extLst>
          </p:nvPr>
        </p:nvGraphicFramePr>
        <p:xfrm>
          <a:off x="4855176" y="1025195"/>
          <a:ext cx="6596447" cy="4807609"/>
        </p:xfrm>
        <a:graphic>
          <a:graphicData uri="http://schemas.openxmlformats.org/drawingml/2006/table">
            <a:tbl>
              <a:tblPr firstRow="1" firstCol="1" bandRow="1">
                <a:tableStyleId>{5C22544A-7EE6-4342-B048-85BDC9FD1C3A}</a:tableStyleId>
              </a:tblPr>
              <a:tblGrid>
                <a:gridCol w="1244072">
                  <a:extLst>
                    <a:ext uri="{9D8B030D-6E8A-4147-A177-3AD203B41FA5}">
                      <a16:colId xmlns:a16="http://schemas.microsoft.com/office/drawing/2014/main" val="4067294835"/>
                    </a:ext>
                  </a:extLst>
                </a:gridCol>
                <a:gridCol w="1015279">
                  <a:extLst>
                    <a:ext uri="{9D8B030D-6E8A-4147-A177-3AD203B41FA5}">
                      <a16:colId xmlns:a16="http://schemas.microsoft.com/office/drawing/2014/main" val="3606631068"/>
                    </a:ext>
                  </a:extLst>
                </a:gridCol>
                <a:gridCol w="870851">
                  <a:extLst>
                    <a:ext uri="{9D8B030D-6E8A-4147-A177-3AD203B41FA5}">
                      <a16:colId xmlns:a16="http://schemas.microsoft.com/office/drawing/2014/main" val="1551325302"/>
                    </a:ext>
                  </a:extLst>
                </a:gridCol>
                <a:gridCol w="839393">
                  <a:extLst>
                    <a:ext uri="{9D8B030D-6E8A-4147-A177-3AD203B41FA5}">
                      <a16:colId xmlns:a16="http://schemas.microsoft.com/office/drawing/2014/main" val="1576538717"/>
                    </a:ext>
                  </a:extLst>
                </a:gridCol>
                <a:gridCol w="691390">
                  <a:extLst>
                    <a:ext uri="{9D8B030D-6E8A-4147-A177-3AD203B41FA5}">
                      <a16:colId xmlns:a16="http://schemas.microsoft.com/office/drawing/2014/main" val="1264473365"/>
                    </a:ext>
                  </a:extLst>
                </a:gridCol>
                <a:gridCol w="1244072">
                  <a:extLst>
                    <a:ext uri="{9D8B030D-6E8A-4147-A177-3AD203B41FA5}">
                      <a16:colId xmlns:a16="http://schemas.microsoft.com/office/drawing/2014/main" val="1605208508"/>
                    </a:ext>
                  </a:extLst>
                </a:gridCol>
                <a:gridCol w="691390">
                  <a:extLst>
                    <a:ext uri="{9D8B030D-6E8A-4147-A177-3AD203B41FA5}">
                      <a16:colId xmlns:a16="http://schemas.microsoft.com/office/drawing/2014/main" val="3106339008"/>
                    </a:ext>
                  </a:extLst>
                </a:gridCol>
              </a:tblGrid>
              <a:tr h="198455">
                <a:tc>
                  <a:txBody>
                    <a:bodyPr/>
                    <a:lstStyle/>
                    <a:p>
                      <a:pPr algn="ctr">
                        <a:lnSpc>
                          <a:spcPct val="150000"/>
                        </a:lnSpc>
                        <a:spcAft>
                          <a:spcPts val="800"/>
                        </a:spcAft>
                      </a:pPr>
                      <a:r>
                        <a:rPr lang="it-IT" sz="1200" dirty="0">
                          <a:effectLst/>
                          <a:latin typeface="Lora" pitchFamily="2" charset="0"/>
                        </a:rPr>
                        <a:t>Veicolo</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gn="ctr">
                        <a:lnSpc>
                          <a:spcPct val="100000"/>
                        </a:lnSpc>
                        <a:spcAft>
                          <a:spcPts val="800"/>
                        </a:spcAft>
                      </a:pPr>
                      <a:r>
                        <a:rPr lang="it-IT" sz="1200" dirty="0">
                          <a:effectLst/>
                          <a:latin typeface="Lora" pitchFamily="2" charset="0"/>
                        </a:rPr>
                        <a:t>OICR</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gn="ctr">
                        <a:lnSpc>
                          <a:spcPct val="100000"/>
                        </a:lnSpc>
                        <a:spcAft>
                          <a:spcPts val="800"/>
                        </a:spcAft>
                      </a:pPr>
                      <a:r>
                        <a:rPr lang="it-IT" sz="1200" dirty="0">
                          <a:effectLst/>
                          <a:latin typeface="Lora" pitchFamily="2" charset="0"/>
                        </a:rPr>
                        <a:t>SICAF</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gn="ctr">
                        <a:lnSpc>
                          <a:spcPct val="100000"/>
                        </a:lnSpc>
                        <a:spcAft>
                          <a:spcPts val="800"/>
                        </a:spcAft>
                      </a:pPr>
                      <a:r>
                        <a:rPr lang="it-IT" sz="1200" dirty="0">
                          <a:effectLst/>
                          <a:latin typeface="Lora" pitchFamily="2" charset="0"/>
                        </a:rPr>
                        <a:t>SIIQ (SPA)</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gn="ctr">
                        <a:lnSpc>
                          <a:spcPct val="100000"/>
                        </a:lnSpc>
                        <a:spcAft>
                          <a:spcPts val="800"/>
                        </a:spcAft>
                      </a:pPr>
                      <a:r>
                        <a:rPr lang="it-IT" sz="1200" dirty="0">
                          <a:effectLst/>
                          <a:latin typeface="Lora" pitchFamily="2" charset="0"/>
                        </a:rPr>
                        <a:t>SPV (SPA)</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gn="ctr">
                        <a:lnSpc>
                          <a:spcPct val="100000"/>
                        </a:lnSpc>
                        <a:spcAft>
                          <a:spcPts val="800"/>
                        </a:spcAft>
                      </a:pPr>
                      <a:r>
                        <a:rPr lang="it-IT" sz="1200" dirty="0">
                          <a:effectLst/>
                          <a:latin typeface="Lora" pitchFamily="2" charset="0"/>
                        </a:rPr>
                        <a:t>SPA non quotata</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36000" marB="36000" anchor="ctr">
                    <a:solidFill>
                      <a:srgbClr val="002F56"/>
                    </a:solidFill>
                  </a:tcPr>
                </a:tc>
                <a:tc>
                  <a:txBody>
                    <a:bodyPr/>
                    <a:lstStyle/>
                    <a:p>
                      <a:pPr algn="ctr">
                        <a:lnSpc>
                          <a:spcPct val="100000"/>
                        </a:lnSpc>
                        <a:spcAft>
                          <a:spcPts val="800"/>
                        </a:spcAft>
                      </a:pPr>
                      <a:r>
                        <a:rPr lang="it-IT" sz="1200" dirty="0">
                          <a:effectLst/>
                          <a:latin typeface="Lora" pitchFamily="2" charset="0"/>
                        </a:rPr>
                        <a:t>Trust</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extLst>
                  <a:ext uri="{0D108BD9-81ED-4DB2-BD59-A6C34878D82A}">
                    <a16:rowId xmlns:a16="http://schemas.microsoft.com/office/drawing/2014/main" val="3246035516"/>
                  </a:ext>
                </a:extLst>
              </a:tr>
              <a:tr h="350355">
                <a:tc>
                  <a:txBody>
                    <a:bodyPr/>
                    <a:lstStyle/>
                    <a:p>
                      <a:pPr algn="l">
                        <a:lnSpc>
                          <a:spcPct val="100000"/>
                        </a:lnSpc>
                        <a:spcAft>
                          <a:spcPts val="800"/>
                        </a:spcAft>
                      </a:pPr>
                      <a:r>
                        <a:rPr lang="it-IT" sz="1200" dirty="0">
                          <a:effectLst/>
                          <a:latin typeface="Lora" pitchFamily="2" charset="0"/>
                        </a:rPr>
                        <a:t>Gestore </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dirty="0">
                          <a:effectLst/>
                          <a:latin typeface="Lora" pitchFamily="2" charset="0"/>
                        </a:rPr>
                        <a:t>SGR</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ICAF</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IIQ</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GR</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Consiglio di amministrazione</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Trustee</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4238439377"/>
                  </a:ext>
                </a:extLst>
              </a:tr>
              <a:tr h="864427">
                <a:tc>
                  <a:txBody>
                    <a:bodyPr/>
                    <a:lstStyle/>
                    <a:p>
                      <a:pPr algn="l">
                        <a:lnSpc>
                          <a:spcPct val="100000"/>
                        </a:lnSpc>
                        <a:spcAft>
                          <a:spcPts val="800"/>
                        </a:spcAft>
                      </a:pPr>
                      <a:r>
                        <a:rPr lang="it-IT" sz="1200" dirty="0">
                          <a:effectLst/>
                          <a:latin typeface="Lora" pitchFamily="2" charset="0"/>
                        </a:rPr>
                        <a:t>Documento contenente la politica di investimento</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dirty="0">
                          <a:effectLst/>
                          <a:latin typeface="Lora" pitchFamily="2" charset="0"/>
                        </a:rPr>
                        <a:t>Regolament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tatut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tatut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err="1">
                          <a:effectLst/>
                          <a:latin typeface="Lora" pitchFamily="2" charset="0"/>
                        </a:rPr>
                        <a:t>Offering</a:t>
                      </a:r>
                      <a:r>
                        <a:rPr lang="it-IT" sz="1000" dirty="0">
                          <a:effectLst/>
                          <a:latin typeface="Lora" pitchFamily="2" charset="0"/>
                        </a:rPr>
                        <a:t> </a:t>
                      </a:r>
                      <a:r>
                        <a:rPr lang="it-IT" sz="1000" dirty="0" err="1">
                          <a:effectLst/>
                          <a:latin typeface="Lora" pitchFamily="2" charset="0"/>
                        </a:rPr>
                        <a:t>Circular</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tatuto</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Deed of Trust</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69396320"/>
                  </a:ext>
                </a:extLst>
              </a:tr>
              <a:tr h="535347">
                <a:tc>
                  <a:txBody>
                    <a:bodyPr/>
                    <a:lstStyle/>
                    <a:p>
                      <a:pPr algn="l">
                        <a:lnSpc>
                          <a:spcPct val="100000"/>
                        </a:lnSpc>
                        <a:spcAft>
                          <a:spcPts val="800"/>
                        </a:spcAft>
                      </a:pPr>
                      <a:r>
                        <a:rPr lang="it-IT" sz="1200" dirty="0">
                          <a:effectLst/>
                          <a:latin typeface="Lora" pitchFamily="2" charset="0"/>
                        </a:rPr>
                        <a:t>Vigilanza</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a:effectLst/>
                          <a:latin typeface="Lora" pitchFamily="2" charset="0"/>
                        </a:rPr>
                        <a:t>MEF, Banca d'Italia, CONSOB</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MEF, Banca d'Italia, CONSOB</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CONSOB, Banca d'Italia</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Consob</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4035466765"/>
                  </a:ext>
                </a:extLst>
              </a:tr>
              <a:tr h="420446">
                <a:tc>
                  <a:txBody>
                    <a:bodyPr/>
                    <a:lstStyle/>
                    <a:p>
                      <a:pPr algn="l">
                        <a:lnSpc>
                          <a:spcPct val="100000"/>
                        </a:lnSpc>
                        <a:spcAft>
                          <a:spcPts val="800"/>
                        </a:spcAft>
                      </a:pPr>
                      <a:r>
                        <a:rPr lang="it-IT" sz="1200" dirty="0">
                          <a:effectLst/>
                          <a:latin typeface="Lora" pitchFamily="2" charset="0"/>
                        </a:rPr>
                        <a:t>Obbligo pluralità di investitori</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No</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No</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1564095990"/>
                  </a:ext>
                </a:extLst>
              </a:tr>
              <a:tr h="642437">
                <a:tc>
                  <a:txBody>
                    <a:bodyPr/>
                    <a:lstStyle/>
                    <a:p>
                      <a:pPr algn="l">
                        <a:lnSpc>
                          <a:spcPct val="100000"/>
                        </a:lnSpc>
                        <a:spcAft>
                          <a:spcPts val="800"/>
                        </a:spcAft>
                      </a:pPr>
                      <a:r>
                        <a:rPr lang="it-IT" sz="1200" dirty="0">
                          <a:effectLst/>
                          <a:latin typeface="Lora" pitchFamily="2" charset="0"/>
                        </a:rPr>
                        <a:t>Politica di investimento predeterminata</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ì</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3049046397"/>
                  </a:ext>
                </a:extLst>
              </a:tr>
              <a:tr h="642437">
                <a:tc>
                  <a:txBody>
                    <a:bodyPr/>
                    <a:lstStyle/>
                    <a:p>
                      <a:pPr algn="l">
                        <a:lnSpc>
                          <a:spcPct val="100000"/>
                        </a:lnSpc>
                        <a:spcAft>
                          <a:spcPts val="800"/>
                        </a:spcAft>
                      </a:pPr>
                      <a:r>
                        <a:rPr lang="it-IT" sz="1200" dirty="0">
                          <a:effectLst/>
                          <a:latin typeface="Lora" pitchFamily="2" charset="0"/>
                        </a:rPr>
                        <a:t>Prospetto informativo CONSOB</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ì</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3445816436"/>
                  </a:ext>
                </a:extLst>
              </a:tr>
              <a:tr h="198455">
                <a:tc>
                  <a:txBody>
                    <a:bodyPr/>
                    <a:lstStyle/>
                    <a:p>
                      <a:pPr algn="l">
                        <a:lnSpc>
                          <a:spcPct val="100000"/>
                        </a:lnSpc>
                        <a:spcAft>
                          <a:spcPts val="800"/>
                        </a:spcAft>
                      </a:pPr>
                      <a:r>
                        <a:rPr lang="it-IT" sz="1200" dirty="0">
                          <a:effectLst/>
                          <a:latin typeface="Lora" pitchFamily="2" charset="0"/>
                        </a:rPr>
                        <a:t>Banca depositaria</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dirty="0">
                          <a:effectLst/>
                          <a:latin typeface="Lora" pitchFamily="2" charset="0"/>
                        </a:rPr>
                        <a:t>Sì</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ì</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No</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No</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558099173"/>
                  </a:ext>
                </a:extLst>
              </a:tr>
              <a:tr h="420446">
                <a:tc>
                  <a:txBody>
                    <a:bodyPr/>
                    <a:lstStyle/>
                    <a:p>
                      <a:pPr algn="l">
                        <a:lnSpc>
                          <a:spcPct val="100000"/>
                        </a:lnSpc>
                        <a:spcAft>
                          <a:spcPts val="800"/>
                        </a:spcAft>
                      </a:pPr>
                      <a:r>
                        <a:rPr lang="it-IT" sz="1200" dirty="0">
                          <a:effectLst/>
                          <a:latin typeface="Lora" pitchFamily="2" charset="0"/>
                        </a:rPr>
                        <a:t>Personalità giuridica</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ì</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1748975581"/>
                  </a:ext>
                </a:extLst>
              </a:tr>
            </a:tbl>
          </a:graphicData>
        </a:graphic>
      </p:graphicFrame>
    </p:spTree>
    <p:extLst>
      <p:ext uri="{BB962C8B-B14F-4D97-AF65-F5344CB8AC3E}">
        <p14:creationId xmlns:p14="http://schemas.microsoft.com/office/powerpoint/2010/main" val="1635703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49BB51F5-2106-46FE-BA2C-DB1C6C5B573C}" type="datetime1">
              <a:rPr lang="it-IT" sz="1000" smtClean="0">
                <a:latin typeface="Lora" pitchFamily="2" charset="0"/>
                <a:ea typeface="Inter" panose="02000503000000020004" pitchFamily="2" charset="0"/>
              </a:rPr>
              <a:t>15/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11</a:t>
            </a:fld>
            <a:endParaRPr lang="it-IT" sz="1000">
              <a:latin typeface="Lora" pitchFamily="2" charset="0"/>
              <a:ea typeface="Inter" panose="02000503000000020004" pitchFamily="2" charset="0"/>
            </a:endParaRP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I costi del trust</a:t>
            </a:r>
          </a:p>
        </p:txBody>
      </p:sp>
      <p:sp>
        <p:nvSpPr>
          <p:cNvPr id="23" name="Freeform: Shape 22">
            <a:extLst>
              <a:ext uri="{FF2B5EF4-FFF2-40B4-BE49-F238E27FC236}">
                <a16:creationId xmlns:a16="http://schemas.microsoft.com/office/drawing/2014/main" id="{EF2EE201-4ABB-44CF-858E-A35082CAFF68}"/>
              </a:ext>
            </a:extLst>
          </p:cNvPr>
          <p:cNvSpPr/>
          <p:nvPr/>
        </p:nvSpPr>
        <p:spPr>
          <a:xfrm>
            <a:off x="6822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sz="1600" dirty="0">
              <a:solidFill>
                <a:schemeClr val="tx1"/>
              </a:solidFill>
              <a:latin typeface="Lora" pitchFamily="2" charset="0"/>
              <a:ea typeface="Inter" panose="02000503000000020004" pitchFamily="2" charset="0"/>
            </a:endParaRPr>
          </a:p>
        </p:txBody>
      </p:sp>
      <mc:AlternateContent xmlns:mc="http://schemas.openxmlformats.org/markup-compatibility/2006" xmlns:a14="http://schemas.microsoft.com/office/drawing/2010/main">
        <mc:Choice Requires="a14">
          <p:graphicFrame>
            <p:nvGraphicFramePr>
              <p:cNvPr id="8" name="Table 7">
                <a:extLst>
                  <a:ext uri="{FF2B5EF4-FFF2-40B4-BE49-F238E27FC236}">
                    <a16:creationId xmlns:a16="http://schemas.microsoft.com/office/drawing/2014/main" id="{39DC2204-7AF4-4A6A-89C3-0A6646841230}"/>
                  </a:ext>
                </a:extLst>
              </p:cNvPr>
              <p:cNvGraphicFramePr>
                <a:graphicFrameLocks noGrp="1"/>
              </p:cNvGraphicFramePr>
              <p:nvPr>
                <p:extLst>
                  <p:ext uri="{D42A27DB-BD31-4B8C-83A1-F6EECF244321}">
                    <p14:modId xmlns:p14="http://schemas.microsoft.com/office/powerpoint/2010/main" val="2849767671"/>
                  </p:ext>
                </p:extLst>
              </p:nvPr>
            </p:nvGraphicFramePr>
            <p:xfrm>
              <a:off x="517899" y="1096938"/>
              <a:ext cx="4808245" cy="2889890"/>
            </p:xfrm>
            <a:graphic>
              <a:graphicData uri="http://schemas.openxmlformats.org/drawingml/2006/table">
                <a:tbl>
                  <a:tblPr firstRow="1" firstCol="1" bandRow="1">
                    <a:tableStyleId>{5C22544A-7EE6-4342-B048-85BDC9FD1C3A}</a:tableStyleId>
                  </a:tblPr>
                  <a:tblGrid>
                    <a:gridCol w="1121382">
                      <a:extLst>
                        <a:ext uri="{9D8B030D-6E8A-4147-A177-3AD203B41FA5}">
                          <a16:colId xmlns:a16="http://schemas.microsoft.com/office/drawing/2014/main" val="2003400831"/>
                        </a:ext>
                      </a:extLst>
                    </a:gridCol>
                    <a:gridCol w="2474383">
                      <a:extLst>
                        <a:ext uri="{9D8B030D-6E8A-4147-A177-3AD203B41FA5}">
                          <a16:colId xmlns:a16="http://schemas.microsoft.com/office/drawing/2014/main" val="4055360569"/>
                        </a:ext>
                      </a:extLst>
                    </a:gridCol>
                    <a:gridCol w="1212480">
                      <a:extLst>
                        <a:ext uri="{9D8B030D-6E8A-4147-A177-3AD203B41FA5}">
                          <a16:colId xmlns:a16="http://schemas.microsoft.com/office/drawing/2014/main" val="2590814096"/>
                        </a:ext>
                      </a:extLst>
                    </a:gridCol>
                  </a:tblGrid>
                  <a:tr h="106772">
                    <a:tc gridSpan="3">
                      <a:txBody>
                        <a:bodyPr/>
                        <a:lstStyle/>
                        <a:p>
                          <a:pPr>
                            <a:lnSpc>
                              <a:spcPct val="107000"/>
                            </a:lnSpc>
                            <a:spcAft>
                              <a:spcPts val="800"/>
                            </a:spcAft>
                          </a:pPr>
                          <a:r>
                            <a:rPr lang="it-IT" sz="1200" dirty="0">
                              <a:solidFill>
                                <a:schemeClr val="tx1"/>
                              </a:solidFill>
                              <a:effectLst/>
                              <a:latin typeface="Lora" pitchFamily="2" charset="0"/>
                            </a:rPr>
                            <a:t>Costi one-off in % del NAV e assoluti</a:t>
                          </a:r>
                          <a:r>
                            <a:rPr lang="it-IT" sz="1200" baseline="30000" dirty="0">
                              <a:solidFill>
                                <a:schemeClr val="tx1"/>
                              </a:solidFill>
                              <a:effectLst/>
                              <a:latin typeface="Lora" pitchFamily="2" charset="0"/>
                            </a:rPr>
                            <a:t>1</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it-IT"/>
                        </a:p>
                      </a:txBody>
                      <a:tcPr/>
                    </a:tc>
                    <a:tc hMerge="1">
                      <a:txBody>
                        <a:bodyPr/>
                        <a:lstStyle/>
                        <a:p>
                          <a:endParaRPr lang="it-IT"/>
                        </a:p>
                      </a:txBody>
                      <a:tcPr/>
                    </a:tc>
                    <a:extLst>
                      <a:ext uri="{0D108BD9-81ED-4DB2-BD59-A6C34878D82A}">
                        <a16:rowId xmlns:a16="http://schemas.microsoft.com/office/drawing/2014/main" val="3489067346"/>
                      </a:ext>
                    </a:extLst>
                  </a:tr>
                  <a:tr h="182880">
                    <a:tc>
                      <a:txBody>
                        <a:bodyPr/>
                        <a:lstStyle/>
                        <a:p>
                          <a:pPr algn="r">
                            <a:lnSpc>
                              <a:spcPct val="107000"/>
                            </a:lnSpc>
                            <a:spcAft>
                              <a:spcPts val="800"/>
                            </a:spcAft>
                          </a:pPr>
                          <a:r>
                            <a:rPr lang="it-IT" sz="1200" dirty="0">
                              <a:solidFill>
                                <a:schemeClr val="tx1"/>
                              </a:solidFill>
                              <a:effectLst/>
                              <a:latin typeface="Lora" pitchFamily="2" charset="0"/>
                            </a:rPr>
                            <a:t>Trascurabil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di registro</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 2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6656949"/>
                      </a:ext>
                    </a:extLst>
                  </a:tr>
                  <a:tr h="182880">
                    <a:tc>
                      <a:txBody>
                        <a:bodyPr/>
                        <a:lstStyle/>
                        <a:p>
                          <a:pPr algn="r">
                            <a:lnSpc>
                              <a:spcPct val="107000"/>
                            </a:lnSpc>
                            <a:spcAft>
                              <a:spcPts val="800"/>
                            </a:spcAft>
                          </a:pPr>
                          <a:r>
                            <a:rPr lang="it-IT" sz="1200" dirty="0">
                              <a:solidFill>
                                <a:schemeClr val="tx1"/>
                              </a:solidFill>
                              <a:effectLst/>
                              <a:latin typeface="Lora" pitchFamily="2" charset="0"/>
                            </a:rPr>
                            <a:t>A</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Onorario Notaio</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1,1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7724432"/>
                      </a:ext>
                    </a:extLst>
                  </a:tr>
                  <a:tr h="182880">
                    <a:tc>
                      <a:txBody>
                        <a:bodyPr/>
                        <a:lstStyle/>
                        <a:p>
                          <a:pPr algn="r">
                            <a:lnSpc>
                              <a:spcPct val="107000"/>
                            </a:lnSpc>
                            <a:spcAft>
                              <a:spcPts val="800"/>
                            </a:spcAft>
                          </a:pPr>
                          <a:r>
                            <a:rPr lang="it-IT" sz="1200" dirty="0">
                              <a:solidFill>
                                <a:schemeClr val="tx1"/>
                              </a:solidFill>
                              <a:effectLst/>
                              <a:latin typeface="Lora" pitchFamily="2" charset="0"/>
                            </a:rPr>
                            <a:t>B</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di successione e donazion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8,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99744146"/>
                      </a:ext>
                    </a:extLst>
                  </a:tr>
                  <a:tr h="182880">
                    <a:tc>
                      <a:txBody>
                        <a:bodyPr/>
                        <a:lstStyle/>
                        <a:p>
                          <a:pPr algn="r">
                            <a:lnSpc>
                              <a:spcPct val="107000"/>
                            </a:lnSpc>
                            <a:spcAft>
                              <a:spcPts val="800"/>
                            </a:spcAft>
                          </a:pPr>
                          <a:r>
                            <a:rPr lang="it-IT" sz="1200" dirty="0">
                              <a:solidFill>
                                <a:schemeClr val="tx1"/>
                              </a:solidFill>
                              <a:effectLst/>
                              <a:latin typeface="Lora" pitchFamily="2" charset="0"/>
                            </a:rPr>
                            <a:t>Trascurabil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catastale </a:t>
                          </a:r>
                          <a:r>
                            <a:rPr lang="it-IT" sz="1200" baseline="30000" dirty="0">
                              <a:solidFill>
                                <a:schemeClr val="tx1"/>
                              </a:solidFill>
                              <a:effectLst/>
                              <a:latin typeface="Lora" pitchFamily="2" charset="0"/>
                            </a:rPr>
                            <a:t>2</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 2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14207985"/>
                      </a:ext>
                    </a:extLst>
                  </a:tr>
                  <a:tr h="182880">
                    <a:tc>
                      <a:txBody>
                        <a:bodyPr/>
                        <a:lstStyle/>
                        <a:p>
                          <a:pPr algn="r">
                            <a:lnSpc>
                              <a:spcPct val="107000"/>
                            </a:lnSpc>
                            <a:spcAft>
                              <a:spcPts val="800"/>
                            </a:spcAft>
                          </a:pPr>
                          <a:r>
                            <a:rPr lang="it-IT" sz="1200" dirty="0">
                              <a:solidFill>
                                <a:schemeClr val="tx1"/>
                              </a:solidFill>
                              <a:effectLst/>
                              <a:latin typeface="Lora" pitchFamily="2" charset="0"/>
                            </a:rPr>
                            <a:t>Trascurabil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ipotecaria </a:t>
                          </a:r>
                          <a:r>
                            <a:rPr lang="it-IT" sz="1200" baseline="30000" dirty="0">
                              <a:solidFill>
                                <a:schemeClr val="tx1"/>
                              </a:solidFill>
                              <a:effectLst/>
                              <a:latin typeface="Lora" pitchFamily="2" charset="0"/>
                            </a:rPr>
                            <a:t>2</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 2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94000060"/>
                      </a:ext>
                    </a:extLst>
                  </a:tr>
                  <a:tr h="182880">
                    <a:tc>
                      <a:txBody>
                        <a:bodyPr/>
                        <a:lstStyle/>
                        <a:p>
                          <a:pPr>
                            <a:lnSpc>
                              <a:spcPct val="107000"/>
                            </a:lnSpc>
                          </a:pPr>
                          <a:endParaRPr lang="it-IT" sz="1100" dirty="0">
                            <a:solidFill>
                              <a:schemeClr val="tx1"/>
                            </a:solidFill>
                            <a:effectLst/>
                            <a:latin typeface="Lora" pitchFamily="2"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u="sng" dirty="0">
                              <a:solidFill>
                                <a:schemeClr val="tx1"/>
                              </a:solidFill>
                              <a:effectLst/>
                              <a:latin typeface="Lora" pitchFamily="2" charset="0"/>
                            </a:rPr>
                            <a:t>TOTALE </a:t>
                          </a:r>
                          <a:r>
                            <a:rPr lang="it-IT" sz="1200" dirty="0">
                              <a:solidFill>
                                <a:schemeClr val="tx1"/>
                              </a:solidFill>
                              <a:effectLst/>
                              <a:latin typeface="Lora" pitchFamily="2" charset="0"/>
                            </a:rPr>
                            <a:t>(A+B)</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9,1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67963112"/>
                      </a:ext>
                    </a:extLst>
                  </a:tr>
                  <a:tr h="182880">
                    <a:tc>
                      <a:txBody>
                        <a:bodyPr/>
                        <a:lstStyle/>
                        <a:p>
                          <a:pPr>
                            <a:lnSpc>
                              <a:spcPct val="107000"/>
                            </a:lnSpc>
                          </a:pPr>
                          <a:endParaRPr lang="it-IT" sz="1100" dirty="0">
                            <a:solidFill>
                              <a:schemeClr val="tx1"/>
                            </a:solidFill>
                            <a:effectLst/>
                            <a:latin typeface="Lora" pitchFamily="2"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87250568"/>
                      </a:ext>
                    </a:extLst>
                  </a:tr>
                  <a:tr h="182880">
                    <a:tc gridSpan="2">
                      <a:txBody>
                        <a:bodyPr/>
                        <a:lstStyle/>
                        <a:p>
                          <a:pPr>
                            <a:lnSpc>
                              <a:spcPct val="107000"/>
                            </a:lnSpc>
                            <a:spcAft>
                              <a:spcPts val="800"/>
                            </a:spcAft>
                          </a:pPr>
                          <a:r>
                            <a:rPr lang="it-IT" sz="1200" dirty="0">
                              <a:solidFill>
                                <a:schemeClr val="tx1"/>
                              </a:solidFill>
                              <a:effectLst/>
                              <a:latin typeface="Lora" pitchFamily="2" charset="0"/>
                            </a:rPr>
                            <a:t>Costi Running in % del NAV</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it-IT"/>
                        </a:p>
                      </a:txBody>
                      <a:tcPr/>
                    </a:tc>
                    <a:tc>
                      <a:txBody>
                        <a:bodyPr/>
                        <a:lstStyle/>
                        <a:p>
                          <a:pPr>
                            <a:lnSpc>
                              <a:spcPct val="107000"/>
                            </a:lnSpc>
                          </a:pPr>
                          <a:endParaRPr lang="it-IT" sz="110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78717796"/>
                      </a:ext>
                    </a:extLst>
                  </a:tr>
                  <a:tr h="182880">
                    <a:tc>
                      <a:txBody>
                        <a:bodyPr/>
                        <a:lstStyle/>
                        <a:p>
                          <a:pPr algn="r">
                            <a:lnSpc>
                              <a:spcPct val="107000"/>
                            </a:lnSpc>
                            <a:spcAft>
                              <a:spcPts val="800"/>
                            </a:spcAft>
                          </a:pPr>
                          <a:r>
                            <a:rPr lang="it-IT" sz="1200" dirty="0">
                              <a:solidFill>
                                <a:schemeClr val="tx1"/>
                              </a:solidFill>
                              <a:effectLst/>
                              <a:latin typeface="Lora" pitchFamily="2" charset="0"/>
                            </a:rPr>
                            <a:t>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Commissione Truste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X</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971697"/>
                      </a:ext>
                    </a:extLst>
                  </a:tr>
                  <a:tr h="182880">
                    <a:tc>
                      <a:txBody>
                        <a:bodyPr/>
                        <a:lstStyle/>
                        <a:p>
                          <a:pPr algn="r">
                            <a:lnSpc>
                              <a:spcPct val="107000"/>
                            </a:lnSpc>
                            <a:spcAft>
                              <a:spcPts val="800"/>
                            </a:spcAft>
                          </a:pPr>
                          <a:r>
                            <a:rPr lang="it-IT" sz="1200" dirty="0">
                              <a:solidFill>
                                <a:schemeClr val="tx1"/>
                              </a:solidFill>
                              <a:effectLst/>
                              <a:latin typeface="Lora" pitchFamily="2" charset="0"/>
                            </a:rPr>
                            <a:t>F</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Costi amministrativi</a:t>
                          </a:r>
                          <a:r>
                            <a:rPr lang="it-IT" sz="1200" baseline="30000" dirty="0">
                              <a:solidFill>
                                <a:schemeClr val="tx1"/>
                              </a:solidFill>
                              <a:effectLst/>
                              <a:latin typeface="Lora" pitchFamily="2" charset="0"/>
                            </a:rPr>
                            <a:t>3</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1,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2205502"/>
                      </a:ext>
                    </a:extLst>
                  </a:tr>
                  <a:tr h="182880">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62602878"/>
                      </a:ext>
                    </a:extLst>
                  </a:tr>
                  <a:tr h="182880">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Costi annuali in % del NAV</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14:m>
                            <m:oMathPara xmlns:m="http://schemas.openxmlformats.org/officeDocument/2006/math">
                              <m:oMathParaPr>
                                <m:jc m:val="centerGroup"/>
                              </m:oMathParaPr>
                              <m:oMath xmlns:m="http://schemas.openxmlformats.org/officeDocument/2006/math">
                                <m:f>
                                  <m:fPr>
                                    <m:ctrlPr>
                                      <a:rPr lang="it-IT" sz="1200" i="1" smtClean="0">
                                        <a:solidFill>
                                          <a:schemeClr val="tx1"/>
                                        </a:solidFill>
                                        <a:effectLst/>
                                        <a:latin typeface="Cambria Math" panose="02040503050406030204" pitchFamily="18" charset="0"/>
                                      </a:rPr>
                                    </m:ctrlPr>
                                  </m:fPr>
                                  <m:num>
                                    <m:r>
                                      <a:rPr lang="it-IT" sz="1200">
                                        <a:solidFill>
                                          <a:schemeClr val="tx1"/>
                                        </a:solidFill>
                                        <a:effectLst/>
                                        <a:latin typeface="Cambria Math" panose="02040503050406030204" pitchFamily="18" charset="0"/>
                                      </a:rPr>
                                      <m:t>𝑨</m:t>
                                    </m:r>
                                    <m:r>
                                      <a:rPr lang="it-IT" sz="1200">
                                        <a:solidFill>
                                          <a:schemeClr val="tx1"/>
                                        </a:solidFill>
                                        <a:effectLst/>
                                        <a:latin typeface="Cambria Math" panose="02040503050406030204" pitchFamily="18" charset="0"/>
                                      </a:rPr>
                                      <m:t>+</m:t>
                                    </m:r>
                                    <m:r>
                                      <a:rPr lang="it-IT" sz="1200">
                                        <a:solidFill>
                                          <a:schemeClr val="tx1"/>
                                        </a:solidFill>
                                        <a:effectLst/>
                                        <a:latin typeface="Cambria Math" panose="02040503050406030204" pitchFamily="18" charset="0"/>
                                      </a:rPr>
                                      <m:t>𝑩</m:t>
                                    </m:r>
                                  </m:num>
                                  <m:den>
                                    <m:r>
                                      <a:rPr lang="it-IT" sz="1200">
                                        <a:solidFill>
                                          <a:schemeClr val="tx1"/>
                                        </a:solidFill>
                                        <a:effectLst/>
                                        <a:latin typeface="Cambria Math" panose="02040503050406030204" pitchFamily="18" charset="0"/>
                                      </a:rPr>
                                      <m:t>𝒕</m:t>
                                    </m:r>
                                  </m:den>
                                </m:f>
                                <m:r>
                                  <a:rPr lang="it-IT" sz="1200">
                                    <a:solidFill>
                                      <a:schemeClr val="tx1"/>
                                    </a:solidFill>
                                    <a:effectLst/>
                                    <a:latin typeface="Cambria Math" panose="02040503050406030204" pitchFamily="18" charset="0"/>
                                  </a:rPr>
                                  <m:t>+</m:t>
                                </m:r>
                                <m:r>
                                  <a:rPr lang="it-IT" sz="1200">
                                    <a:solidFill>
                                      <a:schemeClr val="tx1"/>
                                    </a:solidFill>
                                    <a:effectLst/>
                                    <a:latin typeface="Cambria Math" panose="02040503050406030204" pitchFamily="18" charset="0"/>
                                  </a:rPr>
                                  <m:t>𝑬</m:t>
                                </m:r>
                                <m:r>
                                  <a:rPr lang="it-IT" sz="1200">
                                    <a:solidFill>
                                      <a:schemeClr val="tx1"/>
                                    </a:solidFill>
                                    <a:effectLst/>
                                    <a:latin typeface="Cambria Math" panose="02040503050406030204" pitchFamily="18" charset="0"/>
                                  </a:rPr>
                                  <m:t>+</m:t>
                                </m:r>
                                <m:r>
                                  <a:rPr lang="it-IT" sz="1200">
                                    <a:solidFill>
                                      <a:schemeClr val="tx1"/>
                                    </a:solidFill>
                                    <a:effectLst/>
                                    <a:latin typeface="Cambria Math" panose="02040503050406030204" pitchFamily="18" charset="0"/>
                                  </a:rPr>
                                  <m:t>𝑭</m:t>
                                </m:r>
                              </m:oMath>
                            </m:oMathPara>
                          </a14:m>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74541515"/>
                      </a:ext>
                    </a:extLst>
                  </a:tr>
                </a:tbl>
              </a:graphicData>
            </a:graphic>
          </p:graphicFrame>
        </mc:Choice>
        <mc:Fallback xmlns="">
          <p:graphicFrame>
            <p:nvGraphicFramePr>
              <p:cNvPr id="8" name="Table 7">
                <a:extLst>
                  <a:ext uri="{FF2B5EF4-FFF2-40B4-BE49-F238E27FC236}">
                    <a16:creationId xmlns:a16="http://schemas.microsoft.com/office/drawing/2014/main" id="{39DC2204-7AF4-4A6A-89C3-0A6646841230}"/>
                  </a:ext>
                </a:extLst>
              </p:cNvPr>
              <p:cNvGraphicFramePr>
                <a:graphicFrameLocks noGrp="1"/>
              </p:cNvGraphicFramePr>
              <p:nvPr>
                <p:extLst>
                  <p:ext uri="{D42A27DB-BD31-4B8C-83A1-F6EECF244321}">
                    <p14:modId xmlns:p14="http://schemas.microsoft.com/office/powerpoint/2010/main" val="2849767671"/>
                  </p:ext>
                </p:extLst>
              </p:nvPr>
            </p:nvGraphicFramePr>
            <p:xfrm>
              <a:off x="517899" y="1096938"/>
              <a:ext cx="4808245" cy="2889890"/>
            </p:xfrm>
            <a:graphic>
              <a:graphicData uri="http://schemas.openxmlformats.org/drawingml/2006/table">
                <a:tbl>
                  <a:tblPr firstRow="1" firstCol="1" bandRow="1">
                    <a:tableStyleId>{5C22544A-7EE6-4342-B048-85BDC9FD1C3A}</a:tableStyleId>
                  </a:tblPr>
                  <a:tblGrid>
                    <a:gridCol w="1121382">
                      <a:extLst>
                        <a:ext uri="{9D8B030D-6E8A-4147-A177-3AD203B41FA5}">
                          <a16:colId xmlns:a16="http://schemas.microsoft.com/office/drawing/2014/main" val="2003400831"/>
                        </a:ext>
                      </a:extLst>
                    </a:gridCol>
                    <a:gridCol w="2474383">
                      <a:extLst>
                        <a:ext uri="{9D8B030D-6E8A-4147-A177-3AD203B41FA5}">
                          <a16:colId xmlns:a16="http://schemas.microsoft.com/office/drawing/2014/main" val="4055360569"/>
                        </a:ext>
                      </a:extLst>
                    </a:gridCol>
                    <a:gridCol w="1212480">
                      <a:extLst>
                        <a:ext uri="{9D8B030D-6E8A-4147-A177-3AD203B41FA5}">
                          <a16:colId xmlns:a16="http://schemas.microsoft.com/office/drawing/2014/main" val="2590814096"/>
                        </a:ext>
                      </a:extLst>
                    </a:gridCol>
                  </a:tblGrid>
                  <a:tr h="185992">
                    <a:tc gridSpan="3">
                      <a:txBody>
                        <a:bodyPr/>
                        <a:lstStyle/>
                        <a:p>
                          <a:pPr>
                            <a:lnSpc>
                              <a:spcPct val="107000"/>
                            </a:lnSpc>
                            <a:spcAft>
                              <a:spcPts val="800"/>
                            </a:spcAft>
                          </a:pPr>
                          <a:r>
                            <a:rPr lang="it-IT" sz="1200" dirty="0">
                              <a:solidFill>
                                <a:schemeClr val="tx1"/>
                              </a:solidFill>
                              <a:effectLst/>
                              <a:latin typeface="Lora" pitchFamily="2" charset="0"/>
                            </a:rPr>
                            <a:t>Costi one-off in % del NAV e assoluti</a:t>
                          </a:r>
                          <a:r>
                            <a:rPr lang="it-IT" sz="1200" baseline="30000" dirty="0">
                              <a:solidFill>
                                <a:schemeClr val="tx1"/>
                              </a:solidFill>
                              <a:effectLst/>
                              <a:latin typeface="Lora" pitchFamily="2" charset="0"/>
                            </a:rPr>
                            <a:t>1</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it-IT"/>
                        </a:p>
                      </a:txBody>
                      <a:tcPr/>
                    </a:tc>
                    <a:tc hMerge="1">
                      <a:txBody>
                        <a:bodyPr/>
                        <a:lstStyle/>
                        <a:p>
                          <a:endParaRPr lang="it-IT"/>
                        </a:p>
                      </a:txBody>
                      <a:tcPr/>
                    </a:tc>
                    <a:extLst>
                      <a:ext uri="{0D108BD9-81ED-4DB2-BD59-A6C34878D82A}">
                        <a16:rowId xmlns:a16="http://schemas.microsoft.com/office/drawing/2014/main" val="3489067346"/>
                      </a:ext>
                    </a:extLst>
                  </a:tr>
                  <a:tr h="185992">
                    <a:tc>
                      <a:txBody>
                        <a:bodyPr/>
                        <a:lstStyle/>
                        <a:p>
                          <a:pPr algn="r">
                            <a:lnSpc>
                              <a:spcPct val="107000"/>
                            </a:lnSpc>
                            <a:spcAft>
                              <a:spcPts val="800"/>
                            </a:spcAft>
                          </a:pPr>
                          <a:r>
                            <a:rPr lang="it-IT" sz="1200" dirty="0">
                              <a:solidFill>
                                <a:schemeClr val="tx1"/>
                              </a:solidFill>
                              <a:effectLst/>
                              <a:latin typeface="Lora" pitchFamily="2" charset="0"/>
                            </a:rPr>
                            <a:t>Trascurabil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di registro</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 2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6656949"/>
                      </a:ext>
                    </a:extLst>
                  </a:tr>
                  <a:tr h="185992">
                    <a:tc>
                      <a:txBody>
                        <a:bodyPr/>
                        <a:lstStyle/>
                        <a:p>
                          <a:pPr algn="r">
                            <a:lnSpc>
                              <a:spcPct val="107000"/>
                            </a:lnSpc>
                            <a:spcAft>
                              <a:spcPts val="800"/>
                            </a:spcAft>
                          </a:pPr>
                          <a:r>
                            <a:rPr lang="it-IT" sz="1200" dirty="0">
                              <a:solidFill>
                                <a:schemeClr val="tx1"/>
                              </a:solidFill>
                              <a:effectLst/>
                              <a:latin typeface="Lora" pitchFamily="2" charset="0"/>
                            </a:rPr>
                            <a:t>A</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Onorario Notaio</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1,1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7724432"/>
                      </a:ext>
                    </a:extLst>
                  </a:tr>
                  <a:tr h="381699">
                    <a:tc>
                      <a:txBody>
                        <a:bodyPr/>
                        <a:lstStyle/>
                        <a:p>
                          <a:pPr algn="r">
                            <a:lnSpc>
                              <a:spcPct val="107000"/>
                            </a:lnSpc>
                            <a:spcAft>
                              <a:spcPts val="800"/>
                            </a:spcAft>
                          </a:pPr>
                          <a:r>
                            <a:rPr lang="it-IT" sz="1200" dirty="0">
                              <a:solidFill>
                                <a:schemeClr val="tx1"/>
                              </a:solidFill>
                              <a:effectLst/>
                              <a:latin typeface="Lora" pitchFamily="2" charset="0"/>
                            </a:rPr>
                            <a:t>B</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di successione e donazion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8,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99744146"/>
                      </a:ext>
                    </a:extLst>
                  </a:tr>
                  <a:tr h="185992">
                    <a:tc>
                      <a:txBody>
                        <a:bodyPr/>
                        <a:lstStyle/>
                        <a:p>
                          <a:pPr algn="r">
                            <a:lnSpc>
                              <a:spcPct val="107000"/>
                            </a:lnSpc>
                            <a:spcAft>
                              <a:spcPts val="800"/>
                            </a:spcAft>
                          </a:pPr>
                          <a:r>
                            <a:rPr lang="it-IT" sz="1200" dirty="0">
                              <a:solidFill>
                                <a:schemeClr val="tx1"/>
                              </a:solidFill>
                              <a:effectLst/>
                              <a:latin typeface="Lora" pitchFamily="2" charset="0"/>
                            </a:rPr>
                            <a:t>Trascurabil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catastale </a:t>
                          </a:r>
                          <a:r>
                            <a:rPr lang="it-IT" sz="1200" baseline="30000" dirty="0">
                              <a:solidFill>
                                <a:schemeClr val="tx1"/>
                              </a:solidFill>
                              <a:effectLst/>
                              <a:latin typeface="Lora" pitchFamily="2" charset="0"/>
                            </a:rPr>
                            <a:t>2</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 2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14207985"/>
                      </a:ext>
                    </a:extLst>
                  </a:tr>
                  <a:tr h="185992">
                    <a:tc>
                      <a:txBody>
                        <a:bodyPr/>
                        <a:lstStyle/>
                        <a:p>
                          <a:pPr algn="r">
                            <a:lnSpc>
                              <a:spcPct val="107000"/>
                            </a:lnSpc>
                            <a:spcAft>
                              <a:spcPts val="800"/>
                            </a:spcAft>
                          </a:pPr>
                          <a:r>
                            <a:rPr lang="it-IT" sz="1200" dirty="0">
                              <a:solidFill>
                                <a:schemeClr val="tx1"/>
                              </a:solidFill>
                              <a:effectLst/>
                              <a:latin typeface="Lora" pitchFamily="2" charset="0"/>
                            </a:rPr>
                            <a:t>Trascurabil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ipotecaria </a:t>
                          </a:r>
                          <a:r>
                            <a:rPr lang="it-IT" sz="1200" baseline="30000" dirty="0">
                              <a:solidFill>
                                <a:schemeClr val="tx1"/>
                              </a:solidFill>
                              <a:effectLst/>
                              <a:latin typeface="Lora" pitchFamily="2" charset="0"/>
                            </a:rPr>
                            <a:t>2</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 2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94000060"/>
                      </a:ext>
                    </a:extLst>
                  </a:tr>
                  <a:tr h="185992">
                    <a:tc>
                      <a:txBody>
                        <a:bodyPr/>
                        <a:lstStyle/>
                        <a:p>
                          <a:pPr>
                            <a:lnSpc>
                              <a:spcPct val="107000"/>
                            </a:lnSpc>
                          </a:pPr>
                          <a:endParaRPr lang="it-IT" sz="1100" dirty="0">
                            <a:solidFill>
                              <a:schemeClr val="tx1"/>
                            </a:solidFill>
                            <a:effectLst/>
                            <a:latin typeface="Lora" pitchFamily="2"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u="sng" dirty="0">
                              <a:solidFill>
                                <a:schemeClr val="tx1"/>
                              </a:solidFill>
                              <a:effectLst/>
                              <a:latin typeface="Lora" pitchFamily="2" charset="0"/>
                            </a:rPr>
                            <a:t>TOTALE </a:t>
                          </a:r>
                          <a:r>
                            <a:rPr lang="it-IT" sz="1200" dirty="0">
                              <a:solidFill>
                                <a:schemeClr val="tx1"/>
                              </a:solidFill>
                              <a:effectLst/>
                              <a:latin typeface="Lora" pitchFamily="2" charset="0"/>
                            </a:rPr>
                            <a:t>(A+B)</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9,1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67963112"/>
                      </a:ext>
                    </a:extLst>
                  </a:tr>
                  <a:tr h="182880">
                    <a:tc>
                      <a:txBody>
                        <a:bodyPr/>
                        <a:lstStyle/>
                        <a:p>
                          <a:pPr>
                            <a:lnSpc>
                              <a:spcPct val="107000"/>
                            </a:lnSpc>
                          </a:pPr>
                          <a:endParaRPr lang="it-IT" sz="1100" dirty="0">
                            <a:solidFill>
                              <a:schemeClr val="tx1"/>
                            </a:solidFill>
                            <a:effectLst/>
                            <a:latin typeface="Lora" pitchFamily="2"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87250568"/>
                      </a:ext>
                    </a:extLst>
                  </a:tr>
                  <a:tr h="185992">
                    <a:tc gridSpan="2">
                      <a:txBody>
                        <a:bodyPr/>
                        <a:lstStyle/>
                        <a:p>
                          <a:pPr>
                            <a:lnSpc>
                              <a:spcPct val="107000"/>
                            </a:lnSpc>
                            <a:spcAft>
                              <a:spcPts val="800"/>
                            </a:spcAft>
                          </a:pPr>
                          <a:r>
                            <a:rPr lang="it-IT" sz="1200" dirty="0">
                              <a:solidFill>
                                <a:schemeClr val="tx1"/>
                              </a:solidFill>
                              <a:effectLst/>
                              <a:latin typeface="Lora" pitchFamily="2" charset="0"/>
                            </a:rPr>
                            <a:t>Costi Running in % del NAV</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it-IT"/>
                        </a:p>
                      </a:txBody>
                      <a:tcPr/>
                    </a:tc>
                    <a:tc>
                      <a:txBody>
                        <a:bodyPr/>
                        <a:lstStyle/>
                        <a:p>
                          <a:pPr>
                            <a:lnSpc>
                              <a:spcPct val="107000"/>
                            </a:lnSpc>
                          </a:pPr>
                          <a:endParaRPr lang="it-IT" sz="110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78717796"/>
                      </a:ext>
                    </a:extLst>
                  </a:tr>
                  <a:tr h="185992">
                    <a:tc>
                      <a:txBody>
                        <a:bodyPr/>
                        <a:lstStyle/>
                        <a:p>
                          <a:pPr algn="r">
                            <a:lnSpc>
                              <a:spcPct val="107000"/>
                            </a:lnSpc>
                            <a:spcAft>
                              <a:spcPts val="800"/>
                            </a:spcAft>
                          </a:pPr>
                          <a:r>
                            <a:rPr lang="it-IT" sz="1200" dirty="0">
                              <a:solidFill>
                                <a:schemeClr val="tx1"/>
                              </a:solidFill>
                              <a:effectLst/>
                              <a:latin typeface="Lora" pitchFamily="2" charset="0"/>
                            </a:rPr>
                            <a:t>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Commissione Truste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X</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971697"/>
                      </a:ext>
                    </a:extLst>
                  </a:tr>
                  <a:tr h="185992">
                    <a:tc>
                      <a:txBody>
                        <a:bodyPr/>
                        <a:lstStyle/>
                        <a:p>
                          <a:pPr algn="r">
                            <a:lnSpc>
                              <a:spcPct val="107000"/>
                            </a:lnSpc>
                            <a:spcAft>
                              <a:spcPts val="800"/>
                            </a:spcAft>
                          </a:pPr>
                          <a:r>
                            <a:rPr lang="it-IT" sz="1200" dirty="0">
                              <a:solidFill>
                                <a:schemeClr val="tx1"/>
                              </a:solidFill>
                              <a:effectLst/>
                              <a:latin typeface="Lora" pitchFamily="2" charset="0"/>
                            </a:rPr>
                            <a:t>F</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Costi amministrativi</a:t>
                          </a:r>
                          <a:r>
                            <a:rPr lang="it-IT" sz="1200" baseline="30000" dirty="0">
                              <a:solidFill>
                                <a:schemeClr val="tx1"/>
                              </a:solidFill>
                              <a:effectLst/>
                              <a:latin typeface="Lora" pitchFamily="2" charset="0"/>
                            </a:rPr>
                            <a:t>3</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1,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2205502"/>
                      </a:ext>
                    </a:extLst>
                  </a:tr>
                  <a:tr h="182880">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62602878"/>
                      </a:ext>
                    </a:extLst>
                  </a:tr>
                  <a:tr h="468503">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Costi annuali in % del NAV</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it-IT"/>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blipFill>
                          <a:blip r:embed="rId6"/>
                          <a:stretch>
                            <a:fillRect l="-296985" t="-525974"/>
                          </a:stretch>
                        </a:blipFill>
                      </a:tcPr>
                    </a:tc>
                    <a:extLst>
                      <a:ext uri="{0D108BD9-81ED-4DB2-BD59-A6C34878D82A}">
                        <a16:rowId xmlns:a16="http://schemas.microsoft.com/office/drawing/2014/main" val="1274541515"/>
                      </a:ext>
                    </a:extLst>
                  </a:tr>
                </a:tbl>
              </a:graphicData>
            </a:graphic>
          </p:graphicFrame>
        </mc:Fallback>
      </mc:AlternateContent>
      <p:graphicFrame>
        <p:nvGraphicFramePr>
          <p:cNvPr id="9" name="Table 8">
            <a:extLst>
              <a:ext uri="{FF2B5EF4-FFF2-40B4-BE49-F238E27FC236}">
                <a16:creationId xmlns:a16="http://schemas.microsoft.com/office/drawing/2014/main" id="{AA665307-0EC2-41B5-91D2-5ED0723718F1}"/>
              </a:ext>
            </a:extLst>
          </p:cNvPr>
          <p:cNvGraphicFramePr>
            <a:graphicFrameLocks noGrp="1"/>
          </p:cNvGraphicFramePr>
          <p:nvPr>
            <p:extLst>
              <p:ext uri="{D42A27DB-BD31-4B8C-83A1-F6EECF244321}">
                <p14:modId xmlns:p14="http://schemas.microsoft.com/office/powerpoint/2010/main" val="2590370204"/>
              </p:ext>
            </p:extLst>
          </p:nvPr>
        </p:nvGraphicFramePr>
        <p:xfrm>
          <a:off x="517899" y="4132575"/>
          <a:ext cx="4808244" cy="558927"/>
        </p:xfrm>
        <a:graphic>
          <a:graphicData uri="http://schemas.openxmlformats.org/drawingml/2006/table">
            <a:tbl>
              <a:tblPr firstRow="1" firstCol="1" bandRow="1">
                <a:tableStyleId>{5C22544A-7EE6-4342-B048-85BDC9FD1C3A}</a:tableStyleId>
              </a:tblPr>
              <a:tblGrid>
                <a:gridCol w="2736860">
                  <a:extLst>
                    <a:ext uri="{9D8B030D-6E8A-4147-A177-3AD203B41FA5}">
                      <a16:colId xmlns:a16="http://schemas.microsoft.com/office/drawing/2014/main" val="3680354188"/>
                    </a:ext>
                  </a:extLst>
                </a:gridCol>
                <a:gridCol w="1035692">
                  <a:extLst>
                    <a:ext uri="{9D8B030D-6E8A-4147-A177-3AD203B41FA5}">
                      <a16:colId xmlns:a16="http://schemas.microsoft.com/office/drawing/2014/main" val="1327460706"/>
                    </a:ext>
                  </a:extLst>
                </a:gridCol>
                <a:gridCol w="1035692">
                  <a:extLst>
                    <a:ext uri="{9D8B030D-6E8A-4147-A177-3AD203B41FA5}">
                      <a16:colId xmlns:a16="http://schemas.microsoft.com/office/drawing/2014/main" val="2254092112"/>
                    </a:ext>
                  </a:extLst>
                </a:gridCol>
              </a:tblGrid>
              <a:tr h="182880">
                <a:tc>
                  <a:txBody>
                    <a:bodyPr/>
                    <a:lstStyle/>
                    <a:p>
                      <a:pPr>
                        <a:lnSpc>
                          <a:spcPct val="107000"/>
                        </a:lnSpc>
                        <a:spcAft>
                          <a:spcPts val="800"/>
                        </a:spcAft>
                      </a:pPr>
                      <a:r>
                        <a:rPr lang="it-IT" sz="1200" dirty="0">
                          <a:solidFill>
                            <a:schemeClr val="tx1"/>
                          </a:solidFill>
                          <a:effectLst/>
                        </a:rPr>
                        <a:t>Commissioni annuali in % del NAV </a:t>
                      </a:r>
                      <a:r>
                        <a:rPr lang="it-IT" sz="1200" baseline="30000" dirty="0">
                          <a:solidFill>
                            <a:schemeClr val="tx1"/>
                          </a:solidFill>
                          <a:effectLst/>
                        </a:rPr>
                        <a:t>4</a:t>
                      </a:r>
                      <a:endParaRPr lang="it-IT" sz="1100" dirty="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tc>
                  <a:txBody>
                    <a:bodyPr/>
                    <a:lstStyle/>
                    <a:p>
                      <a:pPr>
                        <a:lnSpc>
                          <a:spcPct val="107000"/>
                        </a:lnSpc>
                        <a:spcAft>
                          <a:spcPts val="800"/>
                        </a:spcAft>
                      </a:pPr>
                      <a:r>
                        <a:rPr lang="it-IT" sz="1200" dirty="0">
                          <a:solidFill>
                            <a:schemeClr val="tx1"/>
                          </a:solidFill>
                          <a:effectLst/>
                        </a:rPr>
                        <a:t>10Y</a:t>
                      </a:r>
                      <a:endParaRPr lang="it-IT" sz="1100" dirty="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tc>
                  <a:txBody>
                    <a:bodyPr/>
                    <a:lstStyle/>
                    <a:p>
                      <a:pPr>
                        <a:lnSpc>
                          <a:spcPct val="107000"/>
                        </a:lnSpc>
                        <a:spcAft>
                          <a:spcPts val="800"/>
                        </a:spcAft>
                      </a:pPr>
                      <a:r>
                        <a:rPr lang="it-IT" sz="1200" dirty="0">
                          <a:solidFill>
                            <a:schemeClr val="tx1"/>
                          </a:solidFill>
                          <a:effectLst/>
                        </a:rPr>
                        <a:t>50Y</a:t>
                      </a:r>
                      <a:endParaRPr lang="it-IT" sz="1100" dirty="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extLst>
                  <a:ext uri="{0D108BD9-81ED-4DB2-BD59-A6C34878D82A}">
                    <a16:rowId xmlns:a16="http://schemas.microsoft.com/office/drawing/2014/main" val="2626186047"/>
                  </a:ext>
                </a:extLst>
              </a:tr>
              <a:tr h="182880">
                <a:tc>
                  <a:txBody>
                    <a:bodyPr/>
                    <a:lstStyle/>
                    <a:p>
                      <a:pPr>
                        <a:lnSpc>
                          <a:spcPct val="107000"/>
                        </a:lnSpc>
                        <a:spcAft>
                          <a:spcPts val="800"/>
                        </a:spcAft>
                      </a:pPr>
                      <a:r>
                        <a:rPr lang="it-IT" sz="1200" dirty="0">
                          <a:solidFill>
                            <a:schemeClr val="tx1"/>
                          </a:solidFill>
                          <a:effectLst/>
                        </a:rPr>
                        <a:t>FIA Chiusi Europei </a:t>
                      </a:r>
                      <a:r>
                        <a:rPr lang="it-IT" sz="1200" baseline="30000" dirty="0">
                          <a:solidFill>
                            <a:schemeClr val="tx1"/>
                          </a:solidFill>
                          <a:effectLst/>
                        </a:rPr>
                        <a:t>5</a:t>
                      </a:r>
                      <a:endParaRPr lang="it-IT" sz="1100" dirty="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tc>
                  <a:txBody>
                    <a:bodyPr/>
                    <a:lstStyle/>
                    <a:p>
                      <a:pPr>
                        <a:lnSpc>
                          <a:spcPct val="107000"/>
                        </a:lnSpc>
                        <a:spcAft>
                          <a:spcPts val="800"/>
                        </a:spcAft>
                      </a:pPr>
                      <a:r>
                        <a:rPr lang="it-IT" sz="1200" dirty="0">
                          <a:solidFill>
                            <a:schemeClr val="tx1"/>
                          </a:solidFill>
                          <a:effectLst/>
                        </a:rPr>
                        <a:t>2,28%</a:t>
                      </a:r>
                      <a:endParaRPr lang="it-IT" sz="1100" dirty="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tc>
                  <a:txBody>
                    <a:bodyPr/>
                    <a:lstStyle/>
                    <a:p>
                      <a:pPr>
                        <a:lnSpc>
                          <a:spcPct val="107000"/>
                        </a:lnSpc>
                        <a:spcAft>
                          <a:spcPts val="800"/>
                        </a:spcAft>
                      </a:pPr>
                      <a:r>
                        <a:rPr lang="it-IT" sz="1200" dirty="0">
                          <a:solidFill>
                            <a:schemeClr val="tx1"/>
                          </a:solidFill>
                          <a:effectLst/>
                        </a:rPr>
                        <a:t>2,28%</a:t>
                      </a:r>
                      <a:endParaRPr lang="it-IT" sz="1100" dirty="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extLst>
                  <a:ext uri="{0D108BD9-81ED-4DB2-BD59-A6C34878D82A}">
                    <a16:rowId xmlns:a16="http://schemas.microsoft.com/office/drawing/2014/main" val="1249469934"/>
                  </a:ext>
                </a:extLst>
              </a:tr>
              <a:tr h="182880">
                <a:tc>
                  <a:txBody>
                    <a:bodyPr/>
                    <a:lstStyle/>
                    <a:p>
                      <a:pPr>
                        <a:lnSpc>
                          <a:spcPct val="107000"/>
                        </a:lnSpc>
                        <a:spcAft>
                          <a:spcPts val="800"/>
                        </a:spcAft>
                      </a:pPr>
                      <a:r>
                        <a:rPr lang="it-IT" sz="1200">
                          <a:solidFill>
                            <a:schemeClr val="tx1"/>
                          </a:solidFill>
                          <a:effectLst/>
                        </a:rPr>
                        <a:t>Trust</a:t>
                      </a:r>
                      <a:endParaRPr lang="it-IT" sz="110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tc>
                  <a:txBody>
                    <a:bodyPr/>
                    <a:lstStyle/>
                    <a:p>
                      <a:pPr>
                        <a:lnSpc>
                          <a:spcPct val="107000"/>
                        </a:lnSpc>
                        <a:spcAft>
                          <a:spcPts val="800"/>
                        </a:spcAft>
                      </a:pPr>
                      <a:r>
                        <a:rPr lang="it-IT" sz="1200">
                          <a:solidFill>
                            <a:schemeClr val="tx1"/>
                          </a:solidFill>
                          <a:effectLst/>
                        </a:rPr>
                        <a:t>1,91%</a:t>
                      </a:r>
                      <a:endParaRPr lang="it-IT" sz="110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tc>
                  <a:txBody>
                    <a:bodyPr/>
                    <a:lstStyle/>
                    <a:p>
                      <a:pPr>
                        <a:lnSpc>
                          <a:spcPct val="107000"/>
                        </a:lnSpc>
                        <a:spcAft>
                          <a:spcPts val="800"/>
                        </a:spcAft>
                      </a:pPr>
                      <a:r>
                        <a:rPr lang="it-IT" sz="1200" dirty="0">
                          <a:solidFill>
                            <a:schemeClr val="tx1"/>
                          </a:solidFill>
                          <a:effectLst/>
                        </a:rPr>
                        <a:t>1,18%</a:t>
                      </a:r>
                      <a:endParaRPr lang="it-IT" sz="1100" dirty="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extLst>
                  <a:ext uri="{0D108BD9-81ED-4DB2-BD59-A6C34878D82A}">
                    <a16:rowId xmlns:a16="http://schemas.microsoft.com/office/drawing/2014/main" val="2511077443"/>
                  </a:ext>
                </a:extLst>
              </a:tr>
            </a:tbl>
          </a:graphicData>
        </a:graphic>
      </p:graphicFrame>
      <p:sp>
        <p:nvSpPr>
          <p:cNvPr id="15" name="Rectangle 14">
            <a:extLst>
              <a:ext uri="{FF2B5EF4-FFF2-40B4-BE49-F238E27FC236}">
                <a16:creationId xmlns:a16="http://schemas.microsoft.com/office/drawing/2014/main" id="{FBEEACC2-7A89-409C-AAD7-94A1B2A422AE}"/>
              </a:ext>
            </a:extLst>
          </p:cNvPr>
          <p:cNvSpPr/>
          <p:nvPr/>
        </p:nvSpPr>
        <p:spPr>
          <a:xfrm>
            <a:off x="6865858" y="3688079"/>
            <a:ext cx="4987813" cy="2525215"/>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it-IT" sz="1000" dirty="0">
                <a:solidFill>
                  <a:schemeClr val="tx1"/>
                </a:solidFill>
                <a:latin typeface="Lora" pitchFamily="2" charset="0"/>
              </a:rPr>
              <a:t>Nota 1: Si sceglie di confrontare il trust con i FIA Chiusi immobiliari poiché rappresentano il 94,7% del NAV investito professionalmente in immobili in Italia</a:t>
            </a:r>
          </a:p>
          <a:p>
            <a:r>
              <a:rPr lang="it-IT" sz="1000" dirty="0">
                <a:solidFill>
                  <a:schemeClr val="tx1"/>
                </a:solidFill>
                <a:latin typeface="Lora" pitchFamily="2" charset="0"/>
              </a:rPr>
              <a:t>Nota 2: Si ipotizza che alla fine della vita del trust sarà il trust stesso a rivendere l’immobile, evitandosi così il presupposto per l’applicazione dell’imposta catastale ed ipotecaria in misura proporzionale.</a:t>
            </a:r>
          </a:p>
          <a:p>
            <a:r>
              <a:rPr lang="it-IT" sz="1000" dirty="0">
                <a:solidFill>
                  <a:schemeClr val="tx1"/>
                </a:solidFill>
                <a:latin typeface="Lora" pitchFamily="2" charset="0"/>
              </a:rPr>
              <a:t>Nota 3: l trust, quale soggetto passivo dell’Ires, sia esso "trasparente" o "opaco", è tenuto (per mezzo del trustee) ad adempiere gli specifici obblighi previsti per questi soggetti: l’obbligo di tenere le apposite scritture contabili, l’obbligo di presentare annualmente la dichiarazione dei redditi, l’obbligo di dotarsi di un proprio codice fiscale e, qualora eserciti attività commerciale, l’obbligo di aprire una propria partita Iva.</a:t>
            </a:r>
          </a:p>
          <a:p>
            <a:r>
              <a:rPr lang="en-US" sz="1000" dirty="0">
                <a:solidFill>
                  <a:schemeClr val="tx1"/>
                </a:solidFill>
                <a:latin typeface="Lora" pitchFamily="2" charset="0"/>
              </a:rPr>
              <a:t>Nota 4: </a:t>
            </a:r>
            <a:r>
              <a:rPr lang="it-IT" sz="1000" dirty="0">
                <a:solidFill>
                  <a:schemeClr val="tx1"/>
                </a:solidFill>
                <a:latin typeface="Lora" pitchFamily="2" charset="0"/>
              </a:rPr>
              <a:t>Si assume le imposte dirette per i due fondi siano simili: ai FIA Chiusi immobiliari si applica l’aliquota del 26% sulla distribuzione (aliquota sui redditi da capitale), ai trust la stessa aliquota se trasparenti o l’aliquota IRES (24%) se opachi</a:t>
            </a:r>
          </a:p>
          <a:p>
            <a:r>
              <a:rPr lang="it-IT" sz="1000" dirty="0">
                <a:solidFill>
                  <a:schemeClr val="tx1"/>
                </a:solidFill>
                <a:latin typeface="Lora" pitchFamily="2" charset="0"/>
              </a:rPr>
              <a:t>Nota 5: Stima del TER (Total </a:t>
            </a:r>
            <a:r>
              <a:rPr lang="it-IT" sz="1000" dirty="0" err="1">
                <a:solidFill>
                  <a:schemeClr val="tx1"/>
                </a:solidFill>
                <a:latin typeface="Lora" pitchFamily="2" charset="0"/>
              </a:rPr>
              <a:t>Expense</a:t>
            </a:r>
            <a:r>
              <a:rPr lang="it-IT" sz="1000" dirty="0">
                <a:solidFill>
                  <a:schemeClr val="tx1"/>
                </a:solidFill>
                <a:latin typeface="Lora" pitchFamily="2" charset="0"/>
              </a:rPr>
              <a:t> Ratio) della </a:t>
            </a:r>
            <a:r>
              <a:rPr lang="en-US" sz="1000" dirty="0">
                <a:solidFill>
                  <a:schemeClr val="tx1"/>
                </a:solidFill>
                <a:latin typeface="Lora" pitchFamily="2" charset="0"/>
              </a:rPr>
              <a:t>European Association for Investors in Non-Listed Real Estate Vehicles (INREV) </a:t>
            </a:r>
          </a:p>
        </p:txBody>
      </p:sp>
    </p:spTree>
    <p:extLst>
      <p:ext uri="{BB962C8B-B14F-4D97-AF65-F5344CB8AC3E}">
        <p14:creationId xmlns:p14="http://schemas.microsoft.com/office/powerpoint/2010/main" val="29763475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3B1374EF-1D9E-4DA2-8893-D7E4768BEC62}" type="datetime1">
              <a:rPr lang="it-IT" sz="1000" smtClean="0">
                <a:latin typeface="Lora" pitchFamily="2" charset="0"/>
                <a:ea typeface="Inter" panose="02000503000000020004" pitchFamily="2" charset="0"/>
              </a:rPr>
              <a:t>15/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12</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Replicare lo studio di </a:t>
            </a:r>
            <a:r>
              <a:rPr lang="it-IT" sz="1600" dirty="0" err="1">
                <a:solidFill>
                  <a:schemeClr val="tx1"/>
                </a:solidFill>
                <a:latin typeface="Lora" pitchFamily="2" charset="0"/>
                <a:ea typeface="Inter" panose="02000503000000020004" pitchFamily="2" charset="0"/>
              </a:rPr>
              <a:t>Benveniste</a:t>
            </a:r>
            <a:r>
              <a:rPr lang="it-IT" sz="1600" dirty="0">
                <a:solidFill>
                  <a:schemeClr val="tx1"/>
                </a:solidFill>
                <a:latin typeface="Lora" pitchFamily="2" charset="0"/>
                <a:ea typeface="Inter" panose="02000503000000020004" pitchFamily="2" charset="0"/>
              </a:rPr>
              <a:t>, </a:t>
            </a:r>
            <a:r>
              <a:rPr lang="it-IT" sz="1600" dirty="0" err="1">
                <a:solidFill>
                  <a:schemeClr val="tx1"/>
                </a:solidFill>
                <a:latin typeface="Lora" pitchFamily="2" charset="0"/>
                <a:ea typeface="Inter" panose="02000503000000020004" pitchFamily="2" charset="0"/>
              </a:rPr>
              <a:t>Capozza</a:t>
            </a:r>
            <a:r>
              <a:rPr lang="it-IT" sz="1600" dirty="0">
                <a:solidFill>
                  <a:schemeClr val="tx1"/>
                </a:solidFill>
                <a:latin typeface="Lora" pitchFamily="2" charset="0"/>
                <a:ea typeface="Inter" panose="02000503000000020004" pitchFamily="2" charset="0"/>
              </a:rPr>
              <a:t>, e Seguin per il mercato italiano</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Individuazione e quantificazione analitica dei costi per ogni veicolo di investimento</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Creazione di un trust con il fine di usarlo come veicolo di investimento</a:t>
            </a:r>
          </a:p>
        </p:txBody>
      </p:sp>
      <p:sp>
        <p:nvSpPr>
          <p:cNvPr id="16" name="Rectangle 15">
            <a:extLst>
              <a:ext uri="{FF2B5EF4-FFF2-40B4-BE49-F238E27FC236}">
                <a16:creationId xmlns:a16="http://schemas.microsoft.com/office/drawing/2014/main" id="{6A1D0711-6C04-41FE-8C4D-618851F6D4CD}"/>
              </a:ext>
            </a:extLst>
          </p:cNvPr>
          <p:cNvSpPr/>
          <p:nvPr/>
        </p:nvSpPr>
        <p:spPr>
          <a:xfrm>
            <a:off x="6111711" y="537328"/>
            <a:ext cx="5030771" cy="5062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marL="457200" indent="-457200">
              <a:buFont typeface="+mj-lt"/>
              <a:buAutoNum type="arabicParenR"/>
            </a:pPr>
            <a:endParaRPr lang="it-IT" sz="1600" dirty="0">
              <a:solidFill>
                <a:schemeClr val="tx1"/>
              </a:solidFill>
              <a:latin typeface="Lora" pitchFamily="2" charset="0"/>
              <a:ea typeface="Inter" panose="02000503000000020004" pitchFamily="2" charset="0"/>
            </a:endParaRP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Ricerche e applicazioni future</a:t>
            </a:r>
          </a:p>
        </p:txBody>
      </p:sp>
    </p:spTree>
    <p:extLst>
      <p:ext uri="{BB962C8B-B14F-4D97-AF65-F5344CB8AC3E}">
        <p14:creationId xmlns:p14="http://schemas.microsoft.com/office/powerpoint/2010/main" val="1766925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C992B95D-0B67-4D6D-988B-51AA3D21F724}" type="datetime1">
              <a:rPr lang="it-IT" sz="1000" smtClean="0">
                <a:latin typeface="Lora" pitchFamily="2" charset="0"/>
                <a:ea typeface="Inter" panose="02000503000000020004" pitchFamily="2" charset="0"/>
              </a:rPr>
              <a:t>15/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2</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it-IT" sz="1600" b="1" dirty="0">
                <a:solidFill>
                  <a:schemeClr val="tx1"/>
                </a:solidFill>
                <a:latin typeface="Lora" pitchFamily="2" charset="0"/>
                <a:ea typeface="Inter" panose="02000503000000020004" pitchFamily="2" charset="0"/>
              </a:rPr>
              <a:t>Questa tesi vuole essere un incipit per immaginare un mondo dove gli immobili possano essere scambiati semplicemente, rapidamente ed economicamente, nello stesso modo con cui oggi vengono negoziate le azioni societarie nei mercati regolamentati.</a:t>
            </a:r>
          </a:p>
        </p:txBody>
      </p:sp>
      <p:sp>
        <p:nvSpPr>
          <p:cNvPr id="16" name="Rectangle 15">
            <a:extLst>
              <a:ext uri="{FF2B5EF4-FFF2-40B4-BE49-F238E27FC236}">
                <a16:creationId xmlns:a16="http://schemas.microsoft.com/office/drawing/2014/main" id="{6A1D0711-6C04-41FE-8C4D-618851F6D4CD}"/>
              </a:ext>
            </a:extLst>
          </p:cNvPr>
          <p:cNvSpPr/>
          <p:nvPr/>
        </p:nvSpPr>
        <p:spPr>
          <a:xfrm>
            <a:off x="6111711" y="537328"/>
            <a:ext cx="5030771" cy="5062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marL="457200" indent="-457200">
              <a:buFont typeface="+mj-lt"/>
              <a:buAutoNum type="arabicParenR"/>
            </a:pPr>
            <a:endParaRPr lang="it-IT" sz="1600" dirty="0">
              <a:solidFill>
                <a:schemeClr val="tx1"/>
              </a:solidFill>
              <a:latin typeface="Lora" pitchFamily="2" charset="0"/>
              <a:ea typeface="Inter" panose="02000503000000020004" pitchFamily="2" charset="0"/>
            </a:endParaRP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i="1" dirty="0">
              <a:solidFill>
                <a:schemeClr val="tx1"/>
              </a:solidFill>
              <a:latin typeface="Lora" pitchFamily="2" charset="0"/>
            </a:endParaRPr>
          </a:p>
          <a:p>
            <a:pPr lvl="1"/>
            <a:r>
              <a:rPr lang="it-IT" i="1" dirty="0">
                <a:solidFill>
                  <a:schemeClr val="tx1"/>
                </a:solidFill>
                <a:latin typeface="Lora" pitchFamily="2" charset="0"/>
              </a:rPr>
              <a:t>The vision</a:t>
            </a:r>
          </a:p>
        </p:txBody>
      </p:sp>
    </p:spTree>
    <p:extLst>
      <p:ext uri="{BB962C8B-B14F-4D97-AF65-F5344CB8AC3E}">
        <p14:creationId xmlns:p14="http://schemas.microsoft.com/office/powerpoint/2010/main" val="1337598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BC723D35-7BBF-4DEB-AD07-B6F04F24E326}" type="datetime1">
              <a:rPr lang="it-IT" sz="1000" smtClean="0">
                <a:latin typeface="Lora" pitchFamily="2" charset="0"/>
                <a:ea typeface="Inter" panose="02000503000000020004" pitchFamily="2" charset="0"/>
              </a:rPr>
              <a:t>15/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3</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it-IT" sz="1600" b="1" dirty="0">
              <a:solidFill>
                <a:schemeClr val="tx1"/>
              </a:solidFill>
              <a:latin typeface="Lora" pitchFamily="2" charset="0"/>
              <a:ea typeface="Inter" panose="02000503000000020004" pitchFamily="2" charset="0"/>
            </a:endParaRPr>
          </a:p>
        </p:txBody>
      </p:sp>
      <p:sp>
        <p:nvSpPr>
          <p:cNvPr id="16" name="Rectangle 15">
            <a:extLst>
              <a:ext uri="{FF2B5EF4-FFF2-40B4-BE49-F238E27FC236}">
                <a16:creationId xmlns:a16="http://schemas.microsoft.com/office/drawing/2014/main" id="{6A1D0711-6C04-41FE-8C4D-618851F6D4CD}"/>
              </a:ext>
            </a:extLst>
          </p:cNvPr>
          <p:cNvSpPr/>
          <p:nvPr/>
        </p:nvSpPr>
        <p:spPr>
          <a:xfrm>
            <a:off x="6860260" y="1258478"/>
            <a:ext cx="4282222" cy="2170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600" dirty="0">
                <a:solidFill>
                  <a:schemeClr val="tx1"/>
                </a:solidFill>
                <a:latin typeface="Lora" pitchFamily="2" charset="0"/>
                <a:ea typeface="Inter" panose="02000503000000020004" pitchFamily="2" charset="0"/>
              </a:rPr>
              <a:t>Sia in Italia che negli Stati Uniti gli immobili rappresentano l’asset class più grande delle rispettive economie. </a:t>
            </a: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L’importanza del mercato immobiliare nell’economia</a:t>
            </a:r>
          </a:p>
        </p:txBody>
      </p:sp>
      <p:sp>
        <p:nvSpPr>
          <p:cNvPr id="13" name="Rectangle 12">
            <a:extLst>
              <a:ext uri="{FF2B5EF4-FFF2-40B4-BE49-F238E27FC236}">
                <a16:creationId xmlns:a16="http://schemas.microsoft.com/office/drawing/2014/main" id="{1B2CDD27-1BED-431E-B7FC-7EA1EF0F132D}"/>
              </a:ext>
            </a:extLst>
          </p:cNvPr>
          <p:cNvSpPr/>
          <p:nvPr/>
        </p:nvSpPr>
        <p:spPr>
          <a:xfrm>
            <a:off x="6860260" y="3429000"/>
            <a:ext cx="4282222" cy="2170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Il mercato immobiliare ha un rapporto rischio/rendimento a metà fra l’asset class azionaria e obbligazionaria (periodo di analisi 2012-2021)</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Il NAREIT nel periodo 1971-2021 ha performato meglio dell’S&amp;P 500.</a:t>
            </a:r>
          </a:p>
        </p:txBody>
      </p:sp>
      <p:graphicFrame>
        <p:nvGraphicFramePr>
          <p:cNvPr id="18" name="Chart 17">
            <a:extLst>
              <a:ext uri="{FF2B5EF4-FFF2-40B4-BE49-F238E27FC236}">
                <a16:creationId xmlns:a16="http://schemas.microsoft.com/office/drawing/2014/main" id="{ABF3DC66-6100-4574-8B33-D0042FCC8E17}"/>
              </a:ext>
            </a:extLst>
          </p:cNvPr>
          <p:cNvGraphicFramePr/>
          <p:nvPr>
            <p:extLst>
              <p:ext uri="{D42A27DB-BD31-4B8C-83A1-F6EECF244321}">
                <p14:modId xmlns:p14="http://schemas.microsoft.com/office/powerpoint/2010/main" val="141730080"/>
              </p:ext>
            </p:extLst>
          </p:nvPr>
        </p:nvGraphicFramePr>
        <p:xfrm>
          <a:off x="1023899" y="3834685"/>
          <a:ext cx="2918180" cy="216650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287D3AFF-5E27-42C2-A643-C28B459AD772}"/>
              </a:ext>
            </a:extLst>
          </p:cNvPr>
          <p:cNvGraphicFramePr/>
          <p:nvPr>
            <p:extLst>
              <p:ext uri="{D42A27DB-BD31-4B8C-83A1-F6EECF244321}">
                <p14:modId xmlns:p14="http://schemas.microsoft.com/office/powerpoint/2010/main" val="3493868954"/>
              </p:ext>
            </p:extLst>
          </p:nvPr>
        </p:nvGraphicFramePr>
        <p:xfrm>
          <a:off x="3942080" y="3790235"/>
          <a:ext cx="2555932" cy="221095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0" name="Chart 19">
            <a:extLst>
              <a:ext uri="{FF2B5EF4-FFF2-40B4-BE49-F238E27FC236}">
                <a16:creationId xmlns:a16="http://schemas.microsoft.com/office/drawing/2014/main" id="{456BC557-D71C-4D98-9754-8BB0E63221EF}"/>
              </a:ext>
            </a:extLst>
          </p:cNvPr>
          <p:cNvGraphicFramePr>
            <a:graphicFrameLocks/>
          </p:cNvGraphicFramePr>
          <p:nvPr>
            <p:extLst>
              <p:ext uri="{D42A27DB-BD31-4B8C-83A1-F6EECF244321}">
                <p14:modId xmlns:p14="http://schemas.microsoft.com/office/powerpoint/2010/main" val="1620715115"/>
              </p:ext>
            </p:extLst>
          </p:nvPr>
        </p:nvGraphicFramePr>
        <p:xfrm>
          <a:off x="1023899" y="1258478"/>
          <a:ext cx="2743200" cy="216650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1" name="Chart 20">
            <a:extLst>
              <a:ext uri="{FF2B5EF4-FFF2-40B4-BE49-F238E27FC236}">
                <a16:creationId xmlns:a16="http://schemas.microsoft.com/office/drawing/2014/main" id="{583A10AD-FE7C-40DB-BD0C-E11A06EA4AEF}"/>
              </a:ext>
            </a:extLst>
          </p:cNvPr>
          <p:cNvGraphicFramePr>
            <a:graphicFrameLocks/>
          </p:cNvGraphicFramePr>
          <p:nvPr>
            <p:extLst>
              <p:ext uri="{D42A27DB-BD31-4B8C-83A1-F6EECF244321}">
                <p14:modId xmlns:p14="http://schemas.microsoft.com/office/powerpoint/2010/main" val="1243814615"/>
              </p:ext>
            </p:extLst>
          </p:nvPr>
        </p:nvGraphicFramePr>
        <p:xfrm>
          <a:off x="3581400" y="1262498"/>
          <a:ext cx="2918180" cy="2170522"/>
        </p:xfrm>
        <a:graphic>
          <a:graphicData uri="http://schemas.openxmlformats.org/drawingml/2006/chart">
            <c:chart xmlns:c="http://schemas.openxmlformats.org/drawingml/2006/chart" xmlns:r="http://schemas.openxmlformats.org/officeDocument/2006/relationships" r:id="rId10"/>
          </a:graphicData>
        </a:graphic>
      </p:graphicFrame>
      <p:sp>
        <p:nvSpPr>
          <p:cNvPr id="8" name="TextBox 7">
            <a:extLst>
              <a:ext uri="{FF2B5EF4-FFF2-40B4-BE49-F238E27FC236}">
                <a16:creationId xmlns:a16="http://schemas.microsoft.com/office/drawing/2014/main" id="{CD4EA495-10F6-43AA-871C-6A702D1357E2}"/>
              </a:ext>
            </a:extLst>
          </p:cNvPr>
          <p:cNvSpPr txBox="1"/>
          <p:nvPr/>
        </p:nvSpPr>
        <p:spPr>
          <a:xfrm>
            <a:off x="2395499" y="2341729"/>
            <a:ext cx="649258" cy="246221"/>
          </a:xfrm>
          <a:prstGeom prst="rect">
            <a:avLst/>
          </a:prstGeom>
          <a:noFill/>
        </p:spPr>
        <p:txBody>
          <a:bodyPr wrap="square" rtlCol="0">
            <a:spAutoFit/>
          </a:bodyPr>
          <a:lstStyle/>
          <a:p>
            <a:r>
              <a:rPr lang="it-IT" sz="1000" dirty="0">
                <a:solidFill>
                  <a:schemeClr val="bg1"/>
                </a:solidFill>
                <a:latin typeface="Lora" pitchFamily="2" charset="0"/>
              </a:rPr>
              <a:t>66%</a:t>
            </a:r>
          </a:p>
        </p:txBody>
      </p:sp>
      <p:sp>
        <p:nvSpPr>
          <p:cNvPr id="22" name="TextBox 21">
            <a:extLst>
              <a:ext uri="{FF2B5EF4-FFF2-40B4-BE49-F238E27FC236}">
                <a16:creationId xmlns:a16="http://schemas.microsoft.com/office/drawing/2014/main" id="{81BB4FF6-ABFE-407A-88C3-F1A497B46F93}"/>
              </a:ext>
            </a:extLst>
          </p:cNvPr>
          <p:cNvSpPr txBox="1"/>
          <p:nvPr/>
        </p:nvSpPr>
        <p:spPr>
          <a:xfrm>
            <a:off x="5040490" y="2093137"/>
            <a:ext cx="649258" cy="246221"/>
          </a:xfrm>
          <a:prstGeom prst="rect">
            <a:avLst/>
          </a:prstGeom>
          <a:noFill/>
        </p:spPr>
        <p:txBody>
          <a:bodyPr wrap="square" rtlCol="0">
            <a:spAutoFit/>
          </a:bodyPr>
          <a:lstStyle/>
          <a:p>
            <a:r>
              <a:rPr lang="it-IT" sz="1000" dirty="0">
                <a:solidFill>
                  <a:schemeClr val="bg1"/>
                </a:solidFill>
                <a:latin typeface="Lora" pitchFamily="2" charset="0"/>
              </a:rPr>
              <a:t>28%</a:t>
            </a:r>
          </a:p>
        </p:txBody>
      </p:sp>
      <p:sp>
        <p:nvSpPr>
          <p:cNvPr id="17" name="Rectangle 16">
            <a:extLst>
              <a:ext uri="{FF2B5EF4-FFF2-40B4-BE49-F238E27FC236}">
                <a16:creationId xmlns:a16="http://schemas.microsoft.com/office/drawing/2014/main" id="{93248548-8812-41B1-B506-CAB3BCD48E96}"/>
              </a:ext>
            </a:extLst>
          </p:cNvPr>
          <p:cNvSpPr/>
          <p:nvPr/>
        </p:nvSpPr>
        <p:spPr>
          <a:xfrm>
            <a:off x="818259" y="3099522"/>
            <a:ext cx="2712068" cy="674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00" b="1" dirty="0">
                <a:solidFill>
                  <a:schemeClr val="tx1"/>
                </a:solidFill>
                <a:latin typeface="Lora" pitchFamily="2" charset="0"/>
              </a:rPr>
              <a:t>Grafico 1</a:t>
            </a:r>
          </a:p>
        </p:txBody>
      </p:sp>
      <p:sp>
        <p:nvSpPr>
          <p:cNvPr id="23" name="Rectangle 22">
            <a:extLst>
              <a:ext uri="{FF2B5EF4-FFF2-40B4-BE49-F238E27FC236}">
                <a16:creationId xmlns:a16="http://schemas.microsoft.com/office/drawing/2014/main" id="{0F6A05EE-B7C0-4B19-B4D5-F722049EEB90}"/>
              </a:ext>
            </a:extLst>
          </p:cNvPr>
          <p:cNvSpPr/>
          <p:nvPr/>
        </p:nvSpPr>
        <p:spPr>
          <a:xfrm>
            <a:off x="3684456" y="3099522"/>
            <a:ext cx="2712068" cy="674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00" b="1" dirty="0">
                <a:solidFill>
                  <a:schemeClr val="tx1"/>
                </a:solidFill>
                <a:latin typeface="Lora" pitchFamily="2" charset="0"/>
              </a:rPr>
              <a:t>Grafico 2</a:t>
            </a:r>
          </a:p>
        </p:txBody>
      </p:sp>
      <p:sp>
        <p:nvSpPr>
          <p:cNvPr id="28" name="Rectangle 27">
            <a:extLst>
              <a:ext uri="{FF2B5EF4-FFF2-40B4-BE49-F238E27FC236}">
                <a16:creationId xmlns:a16="http://schemas.microsoft.com/office/drawing/2014/main" id="{9684C93D-BB91-4821-9ED9-59C148888971}"/>
              </a:ext>
            </a:extLst>
          </p:cNvPr>
          <p:cNvSpPr/>
          <p:nvPr/>
        </p:nvSpPr>
        <p:spPr>
          <a:xfrm>
            <a:off x="818259" y="5749119"/>
            <a:ext cx="2712068" cy="674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00" b="1" dirty="0">
                <a:solidFill>
                  <a:schemeClr val="tx1"/>
                </a:solidFill>
                <a:latin typeface="Lora" pitchFamily="2" charset="0"/>
              </a:rPr>
              <a:t>Grafico 3</a:t>
            </a:r>
          </a:p>
        </p:txBody>
      </p:sp>
      <p:sp>
        <p:nvSpPr>
          <p:cNvPr id="29" name="Rectangle 28">
            <a:extLst>
              <a:ext uri="{FF2B5EF4-FFF2-40B4-BE49-F238E27FC236}">
                <a16:creationId xmlns:a16="http://schemas.microsoft.com/office/drawing/2014/main" id="{65BF0032-5E68-46F3-934A-70E760F004EC}"/>
              </a:ext>
            </a:extLst>
          </p:cNvPr>
          <p:cNvSpPr/>
          <p:nvPr/>
        </p:nvSpPr>
        <p:spPr>
          <a:xfrm>
            <a:off x="3684456" y="5749119"/>
            <a:ext cx="2712068" cy="674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00" b="1" dirty="0">
                <a:solidFill>
                  <a:schemeClr val="tx1"/>
                </a:solidFill>
                <a:latin typeface="Lora" pitchFamily="2" charset="0"/>
              </a:rPr>
              <a:t>Grafico 4</a:t>
            </a:r>
          </a:p>
        </p:txBody>
      </p:sp>
      <p:sp>
        <p:nvSpPr>
          <p:cNvPr id="30" name="Rectangle 29">
            <a:extLst>
              <a:ext uri="{FF2B5EF4-FFF2-40B4-BE49-F238E27FC236}">
                <a16:creationId xmlns:a16="http://schemas.microsoft.com/office/drawing/2014/main" id="{CB63D3DA-2971-4C63-9802-A4C4D275B756}"/>
              </a:ext>
            </a:extLst>
          </p:cNvPr>
          <p:cNvSpPr/>
          <p:nvPr/>
        </p:nvSpPr>
        <p:spPr>
          <a:xfrm>
            <a:off x="6860260" y="5420412"/>
            <a:ext cx="4282222" cy="857840"/>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it-IT" sz="800" b="1" dirty="0">
                <a:solidFill>
                  <a:schemeClr val="tx1"/>
                </a:solidFill>
                <a:latin typeface="Lora" pitchFamily="2" charset="0"/>
              </a:rPr>
              <a:t>Grafico 1: </a:t>
            </a:r>
            <a:r>
              <a:rPr lang="it-IT" sz="800" dirty="0">
                <a:solidFill>
                  <a:schemeClr val="tx1"/>
                </a:solidFill>
                <a:latin typeface="Lora" pitchFamily="2" charset="0"/>
              </a:rPr>
              <a:t>Banca d'Italia. (2022). La ricchezza dei settori istituzionali in Italia: 2005-2020.</a:t>
            </a:r>
          </a:p>
          <a:p>
            <a:r>
              <a:rPr lang="it-IT" sz="800" b="1" dirty="0">
                <a:solidFill>
                  <a:schemeClr val="tx1"/>
                </a:solidFill>
                <a:latin typeface="Lora" pitchFamily="2" charset="0"/>
              </a:rPr>
              <a:t>Grafico 2: </a:t>
            </a:r>
            <a:r>
              <a:rPr lang="en-US" sz="800" dirty="0">
                <a:solidFill>
                  <a:schemeClr val="tx1"/>
                </a:solidFill>
                <a:latin typeface="Lora" pitchFamily="2" charset="0"/>
              </a:rPr>
              <a:t>US Federal Reserve Board, Z.1, Financial Accounts of the United States, Table B.100 Balance Sheet of Households and Nonprofit Organizations - Households and Nonprofit Organizations; Real Estate at Market Value</a:t>
            </a:r>
          </a:p>
          <a:p>
            <a:r>
              <a:rPr lang="en-US" sz="800" b="1" dirty="0" err="1">
                <a:solidFill>
                  <a:schemeClr val="tx1"/>
                </a:solidFill>
                <a:latin typeface="Lora" pitchFamily="2" charset="0"/>
              </a:rPr>
              <a:t>Grafico</a:t>
            </a:r>
            <a:r>
              <a:rPr lang="en-US" sz="800" b="1" dirty="0">
                <a:solidFill>
                  <a:schemeClr val="tx1"/>
                </a:solidFill>
                <a:latin typeface="Lora" pitchFamily="2" charset="0"/>
              </a:rPr>
              <a:t> 3, 4: </a:t>
            </a:r>
            <a:r>
              <a:rPr lang="en-US" sz="800" dirty="0" err="1">
                <a:solidFill>
                  <a:schemeClr val="tx1"/>
                </a:solidFill>
                <a:latin typeface="Lora" pitchFamily="2" charset="0"/>
              </a:rPr>
              <a:t>Elaborazione</a:t>
            </a:r>
            <a:r>
              <a:rPr lang="en-US" sz="800" dirty="0">
                <a:solidFill>
                  <a:schemeClr val="tx1"/>
                </a:solidFill>
                <a:latin typeface="Lora" pitchFamily="2" charset="0"/>
              </a:rPr>
              <a:t> da </a:t>
            </a:r>
            <a:r>
              <a:rPr lang="en-US" sz="800" dirty="0" err="1">
                <a:solidFill>
                  <a:schemeClr val="tx1"/>
                </a:solidFill>
                <a:latin typeface="Lora" pitchFamily="2" charset="0"/>
              </a:rPr>
              <a:t>dati</a:t>
            </a:r>
            <a:r>
              <a:rPr lang="en-US" sz="800" dirty="0">
                <a:solidFill>
                  <a:schemeClr val="tx1"/>
                </a:solidFill>
                <a:latin typeface="Lora" pitchFamily="2" charset="0"/>
              </a:rPr>
              <a:t> Investing.com e FTSE </a:t>
            </a:r>
            <a:r>
              <a:rPr lang="en-US" sz="800" dirty="0" err="1">
                <a:solidFill>
                  <a:schemeClr val="tx1"/>
                </a:solidFill>
                <a:latin typeface="Lora" pitchFamily="2" charset="0"/>
              </a:rPr>
              <a:t>Nareit</a:t>
            </a:r>
            <a:r>
              <a:rPr lang="en-US" sz="800" dirty="0">
                <a:solidFill>
                  <a:schemeClr val="tx1"/>
                </a:solidFill>
                <a:latin typeface="Lora" pitchFamily="2" charset="0"/>
              </a:rPr>
              <a:t> U.S. </a:t>
            </a:r>
            <a:r>
              <a:rPr lang="en-US" sz="800">
                <a:solidFill>
                  <a:schemeClr val="tx1"/>
                </a:solidFill>
                <a:latin typeface="Lora" pitchFamily="2" charset="0"/>
              </a:rPr>
              <a:t>Real Estate Index</a:t>
            </a:r>
            <a:endParaRPr lang="en-US" sz="800" dirty="0">
              <a:solidFill>
                <a:schemeClr val="tx1"/>
              </a:solidFill>
              <a:latin typeface="Lora" pitchFamily="2" charset="0"/>
            </a:endParaRPr>
          </a:p>
        </p:txBody>
      </p:sp>
    </p:spTree>
    <p:extLst>
      <p:ext uri="{BB962C8B-B14F-4D97-AF65-F5344CB8AC3E}">
        <p14:creationId xmlns:p14="http://schemas.microsoft.com/office/powerpoint/2010/main" val="32174506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0D93A6CE-3EE5-461F-BCC7-02E9AF84EF17}" type="datetime1">
              <a:rPr lang="it-IT" sz="1000" smtClean="0">
                <a:latin typeface="Lora" pitchFamily="2" charset="0"/>
                <a:ea typeface="Inter" panose="02000503000000020004" pitchFamily="2" charset="0"/>
              </a:rPr>
              <a:t>15/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4</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it-IT" sz="1600" dirty="0">
                <a:solidFill>
                  <a:schemeClr val="tx1"/>
                </a:solidFill>
                <a:latin typeface="Lora" pitchFamily="2" charset="0"/>
                <a:ea typeface="Inter" panose="02000503000000020004" pitchFamily="2" charset="0"/>
              </a:rPr>
              <a:t>Cause di inefficienza del mercato immobiliare:</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Prodotti eterogenei</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Transazioni caratterizzate da alti costi e basse frequenze</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Regolamentazione </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Ritardi nella produzione</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Decentralizzazione degli scambi</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Contratti di affitto a lungo termine</a:t>
            </a:r>
          </a:p>
        </p:txBody>
      </p:sp>
      <p:sp>
        <p:nvSpPr>
          <p:cNvPr id="16" name="Rectangle 15">
            <a:extLst>
              <a:ext uri="{FF2B5EF4-FFF2-40B4-BE49-F238E27FC236}">
                <a16:creationId xmlns:a16="http://schemas.microsoft.com/office/drawing/2014/main" id="{6A1D0711-6C04-41FE-8C4D-618851F6D4CD}"/>
              </a:ext>
            </a:extLst>
          </p:cNvPr>
          <p:cNvSpPr/>
          <p:nvPr/>
        </p:nvSpPr>
        <p:spPr>
          <a:xfrm>
            <a:off x="6111711" y="537328"/>
            <a:ext cx="5030771" cy="5062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marL="457200" indent="-457200">
              <a:buFont typeface="+mj-lt"/>
              <a:buAutoNum type="arabicParenR"/>
            </a:pPr>
            <a:endParaRPr lang="it-IT" sz="1600" dirty="0">
              <a:solidFill>
                <a:schemeClr val="tx1"/>
              </a:solidFill>
              <a:latin typeface="Lora" pitchFamily="2" charset="0"/>
              <a:ea typeface="Inter" panose="02000503000000020004" pitchFamily="2" charset="0"/>
            </a:endParaRP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Le inefficienze del mercato immobiliare</a:t>
            </a:r>
          </a:p>
        </p:txBody>
      </p:sp>
      <p:graphicFrame>
        <p:nvGraphicFramePr>
          <p:cNvPr id="10" name="Chart 9">
            <a:extLst>
              <a:ext uri="{FF2B5EF4-FFF2-40B4-BE49-F238E27FC236}">
                <a16:creationId xmlns:a16="http://schemas.microsoft.com/office/drawing/2014/main" id="{7A568193-EC74-40CD-92E8-467F37377308}"/>
              </a:ext>
            </a:extLst>
          </p:cNvPr>
          <p:cNvGraphicFramePr/>
          <p:nvPr>
            <p:extLst>
              <p:ext uri="{D42A27DB-BD31-4B8C-83A1-F6EECF244321}">
                <p14:modId xmlns:p14="http://schemas.microsoft.com/office/powerpoint/2010/main" val="2837078834"/>
              </p:ext>
            </p:extLst>
          </p:nvPr>
        </p:nvGraphicFramePr>
        <p:xfrm>
          <a:off x="6599002" y="1258478"/>
          <a:ext cx="4572000" cy="2743200"/>
        </p:xfrm>
        <a:graphic>
          <a:graphicData uri="http://schemas.openxmlformats.org/drawingml/2006/chart">
            <c:chart xmlns:c="http://schemas.openxmlformats.org/drawingml/2006/chart" xmlns:r="http://schemas.openxmlformats.org/officeDocument/2006/relationships" r:id="rId6"/>
          </a:graphicData>
        </a:graphic>
      </p:graphicFrame>
      <p:sp>
        <p:nvSpPr>
          <p:cNvPr id="3" name="Rectangle 2">
            <a:extLst>
              <a:ext uri="{FF2B5EF4-FFF2-40B4-BE49-F238E27FC236}">
                <a16:creationId xmlns:a16="http://schemas.microsoft.com/office/drawing/2014/main" id="{F2F0E44F-8DDB-442D-A445-D804136F0390}"/>
              </a:ext>
            </a:extLst>
          </p:cNvPr>
          <p:cNvSpPr/>
          <p:nvPr/>
        </p:nvSpPr>
        <p:spPr>
          <a:xfrm>
            <a:off x="6726433" y="3925478"/>
            <a:ext cx="4317139" cy="674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b="1" dirty="0">
                <a:solidFill>
                  <a:schemeClr val="tx1"/>
                </a:solidFill>
                <a:latin typeface="Lora" pitchFamily="2" charset="0"/>
              </a:rPr>
              <a:t>Grafico 5</a:t>
            </a:r>
            <a:r>
              <a:rPr lang="it-IT" sz="1400" dirty="0">
                <a:solidFill>
                  <a:schemeClr val="tx1"/>
                </a:solidFill>
                <a:latin typeface="Lora" pitchFamily="2" charset="0"/>
              </a:rPr>
              <a:t>: Numero medio di giorni di permanenza degli annunci immobiliari sul mercato negli USA</a:t>
            </a:r>
          </a:p>
        </p:txBody>
      </p:sp>
      <p:sp>
        <p:nvSpPr>
          <p:cNvPr id="12" name="Rectangle 11">
            <a:extLst>
              <a:ext uri="{FF2B5EF4-FFF2-40B4-BE49-F238E27FC236}">
                <a16:creationId xmlns:a16="http://schemas.microsoft.com/office/drawing/2014/main" id="{2BAC0395-E925-4A13-A5F2-52D456C39297}"/>
              </a:ext>
            </a:extLst>
          </p:cNvPr>
          <p:cNvSpPr/>
          <p:nvPr/>
        </p:nvSpPr>
        <p:spPr>
          <a:xfrm>
            <a:off x="6860260" y="5913126"/>
            <a:ext cx="4282222" cy="365125"/>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it-IT" sz="800" b="1" dirty="0">
                <a:solidFill>
                  <a:schemeClr val="tx1"/>
                </a:solidFill>
                <a:latin typeface="Lora" pitchFamily="2" charset="0"/>
              </a:rPr>
              <a:t>Grafico 5: </a:t>
            </a:r>
            <a:r>
              <a:rPr lang="en-US" sz="800" dirty="0">
                <a:solidFill>
                  <a:schemeClr val="tx1"/>
                </a:solidFill>
                <a:latin typeface="Lora" pitchFamily="2" charset="0"/>
              </a:rPr>
              <a:t>Realtor.com, Housing Inventory: Median Days on Market in the United States</a:t>
            </a:r>
          </a:p>
        </p:txBody>
      </p:sp>
    </p:spTree>
    <p:extLst>
      <p:ext uri="{BB962C8B-B14F-4D97-AF65-F5344CB8AC3E}">
        <p14:creationId xmlns:p14="http://schemas.microsoft.com/office/powerpoint/2010/main" val="1507566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10E6E00D-EC39-4268-8D3B-2BB5A6502C99}" type="datetime1">
              <a:rPr lang="it-IT" sz="1000" smtClean="0">
                <a:latin typeface="Lora" pitchFamily="2" charset="0"/>
                <a:ea typeface="Inter" panose="02000503000000020004" pitchFamily="2" charset="0"/>
              </a:rPr>
              <a:t>15/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5</a:t>
            </a:fld>
            <a:endParaRPr lang="it-IT" sz="1000">
              <a:latin typeface="Lora" pitchFamily="2" charset="0"/>
              <a:ea typeface="Inter" panose="02000503000000020004" pitchFamily="2" charset="0"/>
            </a:endParaRP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Test di efficienza ed evidenze empiriche – USA e Italia</a:t>
            </a:r>
          </a:p>
        </p:txBody>
      </p:sp>
      <p:graphicFrame>
        <p:nvGraphicFramePr>
          <p:cNvPr id="10" name="Chart 9">
            <a:extLst>
              <a:ext uri="{FF2B5EF4-FFF2-40B4-BE49-F238E27FC236}">
                <a16:creationId xmlns:a16="http://schemas.microsoft.com/office/drawing/2014/main" id="{418CA93C-A096-BEDC-A959-8521A796739F}"/>
              </a:ext>
            </a:extLst>
          </p:cNvPr>
          <p:cNvGraphicFramePr/>
          <p:nvPr>
            <p:extLst>
              <p:ext uri="{D42A27DB-BD31-4B8C-83A1-F6EECF244321}">
                <p14:modId xmlns:p14="http://schemas.microsoft.com/office/powerpoint/2010/main" val="3920316809"/>
              </p:ext>
            </p:extLst>
          </p:nvPr>
        </p:nvGraphicFramePr>
        <p:xfrm>
          <a:off x="3606988" y="1159497"/>
          <a:ext cx="3215912" cy="2092750"/>
        </p:xfrm>
        <a:graphic>
          <a:graphicData uri="http://schemas.openxmlformats.org/drawingml/2006/chart">
            <c:chart xmlns:c="http://schemas.openxmlformats.org/drawingml/2006/chart" xmlns:r="http://schemas.openxmlformats.org/officeDocument/2006/relationships" r:id="rId6"/>
          </a:graphicData>
        </a:graphic>
      </p:graphicFrame>
      <p:grpSp>
        <p:nvGrpSpPr>
          <p:cNvPr id="11" name="Group 10">
            <a:extLst>
              <a:ext uri="{FF2B5EF4-FFF2-40B4-BE49-F238E27FC236}">
                <a16:creationId xmlns:a16="http://schemas.microsoft.com/office/drawing/2014/main" id="{B398363C-19A0-4B4F-B700-98EE9035E2B0}"/>
              </a:ext>
            </a:extLst>
          </p:cNvPr>
          <p:cNvGrpSpPr/>
          <p:nvPr/>
        </p:nvGrpSpPr>
        <p:grpSpPr>
          <a:xfrm>
            <a:off x="818259" y="1262498"/>
            <a:ext cx="2875217" cy="1833872"/>
            <a:chOff x="0" y="0"/>
            <a:chExt cx="7891316" cy="5401324"/>
          </a:xfrm>
        </p:grpSpPr>
        <p:sp>
          <p:nvSpPr>
            <p:cNvPr id="12" name="Rectangle 11">
              <a:extLst>
                <a:ext uri="{FF2B5EF4-FFF2-40B4-BE49-F238E27FC236}">
                  <a16:creationId xmlns:a16="http://schemas.microsoft.com/office/drawing/2014/main" id="{7B34BBD2-D9CD-4350-A4D3-2AC72D485B9E}"/>
                </a:ext>
              </a:extLst>
            </p:cNvPr>
            <p:cNvSpPr/>
            <p:nvPr/>
          </p:nvSpPr>
          <p:spPr>
            <a:xfrm>
              <a:off x="593558" y="0"/>
              <a:ext cx="6849979" cy="468429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a:solidFill>
                  <a:schemeClr val="tx1"/>
                </a:solidFill>
                <a:latin typeface="Lora" pitchFamily="2" charset="0"/>
              </a:endParaRPr>
            </a:p>
          </p:txBody>
        </p:sp>
        <p:sp>
          <p:nvSpPr>
            <p:cNvPr id="13" name="Freeform: Shape 12">
              <a:extLst>
                <a:ext uri="{FF2B5EF4-FFF2-40B4-BE49-F238E27FC236}">
                  <a16:creationId xmlns:a16="http://schemas.microsoft.com/office/drawing/2014/main" id="{8FF6D0AB-8468-4955-966B-8435FA396D00}"/>
                </a:ext>
              </a:extLst>
            </p:cNvPr>
            <p:cNvSpPr/>
            <p:nvPr/>
          </p:nvSpPr>
          <p:spPr>
            <a:xfrm>
              <a:off x="577516" y="834189"/>
              <a:ext cx="6882063" cy="3866147"/>
            </a:xfrm>
            <a:custGeom>
              <a:avLst/>
              <a:gdLst>
                <a:gd name="connsiteX0" fmla="*/ 0 w 6882063"/>
                <a:gd name="connsiteY0" fmla="*/ 3866147 h 3866147"/>
                <a:gd name="connsiteX1" fmla="*/ 2679031 w 6882063"/>
                <a:gd name="connsiteY1" fmla="*/ 1090863 h 3866147"/>
                <a:gd name="connsiteX2" fmla="*/ 6882063 w 6882063"/>
                <a:gd name="connsiteY2" fmla="*/ 0 h 3866147"/>
              </a:gdLst>
              <a:ahLst/>
              <a:cxnLst>
                <a:cxn ang="0">
                  <a:pos x="connsiteX0" y="connsiteY0"/>
                </a:cxn>
                <a:cxn ang="0">
                  <a:pos x="connsiteX1" y="connsiteY1"/>
                </a:cxn>
                <a:cxn ang="0">
                  <a:pos x="connsiteX2" y="connsiteY2"/>
                </a:cxn>
              </a:cxnLst>
              <a:rect l="l" t="t" r="r" b="b"/>
              <a:pathLst>
                <a:path w="6882063" h="3866147">
                  <a:moveTo>
                    <a:pt x="0" y="3866147"/>
                  </a:moveTo>
                  <a:cubicBezTo>
                    <a:pt x="766010" y="2800684"/>
                    <a:pt x="1532021" y="1735221"/>
                    <a:pt x="2679031" y="1090863"/>
                  </a:cubicBezTo>
                  <a:cubicBezTo>
                    <a:pt x="3826041" y="446505"/>
                    <a:pt x="5354052" y="223252"/>
                    <a:pt x="6882063" y="0"/>
                  </a:cubicBezTo>
                </a:path>
              </a:pathLst>
            </a:custGeom>
            <a:ln>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endParaRPr lang="it-IT">
                <a:latin typeface="Lora" pitchFamily="2" charset="0"/>
              </a:endParaRPr>
            </a:p>
          </p:txBody>
        </p:sp>
        <p:sp>
          <p:nvSpPr>
            <p:cNvPr id="14" name="Freeform: Shape 13">
              <a:extLst>
                <a:ext uri="{FF2B5EF4-FFF2-40B4-BE49-F238E27FC236}">
                  <a16:creationId xmlns:a16="http://schemas.microsoft.com/office/drawing/2014/main" id="{1FA7FB96-413B-4945-B12A-3498587BED95}"/>
                </a:ext>
              </a:extLst>
            </p:cNvPr>
            <p:cNvSpPr/>
            <p:nvPr/>
          </p:nvSpPr>
          <p:spPr>
            <a:xfrm>
              <a:off x="625642" y="2264917"/>
              <a:ext cx="6817895" cy="2435419"/>
            </a:xfrm>
            <a:custGeom>
              <a:avLst/>
              <a:gdLst>
                <a:gd name="connsiteX0" fmla="*/ 0 w 6817895"/>
                <a:gd name="connsiteY0" fmla="*/ 2435419 h 2435419"/>
                <a:gd name="connsiteX1" fmla="*/ 1187116 w 6817895"/>
                <a:gd name="connsiteY1" fmla="*/ 45146 h 2435419"/>
                <a:gd name="connsiteX2" fmla="*/ 3834063 w 6817895"/>
                <a:gd name="connsiteY2" fmla="*/ 911419 h 2435419"/>
                <a:gd name="connsiteX3" fmla="*/ 6817895 w 6817895"/>
                <a:gd name="connsiteY3" fmla="*/ 1424767 h 2435419"/>
              </a:gdLst>
              <a:ahLst/>
              <a:cxnLst>
                <a:cxn ang="0">
                  <a:pos x="connsiteX0" y="connsiteY0"/>
                </a:cxn>
                <a:cxn ang="0">
                  <a:pos x="connsiteX1" y="connsiteY1"/>
                </a:cxn>
                <a:cxn ang="0">
                  <a:pos x="connsiteX2" y="connsiteY2"/>
                </a:cxn>
                <a:cxn ang="0">
                  <a:pos x="connsiteX3" y="connsiteY3"/>
                </a:cxn>
              </a:cxnLst>
              <a:rect l="l" t="t" r="r" b="b"/>
              <a:pathLst>
                <a:path w="6817895" h="2435419">
                  <a:moveTo>
                    <a:pt x="0" y="2435419"/>
                  </a:moveTo>
                  <a:cubicBezTo>
                    <a:pt x="274053" y="1367282"/>
                    <a:pt x="548106" y="299146"/>
                    <a:pt x="1187116" y="45146"/>
                  </a:cubicBezTo>
                  <a:cubicBezTo>
                    <a:pt x="1826126" y="-208854"/>
                    <a:pt x="2895600" y="681482"/>
                    <a:pt x="3834063" y="911419"/>
                  </a:cubicBezTo>
                  <a:cubicBezTo>
                    <a:pt x="4772526" y="1141356"/>
                    <a:pt x="5795210" y="1283061"/>
                    <a:pt x="6817895" y="1424767"/>
                  </a:cubicBezTo>
                </a:path>
              </a:pathLst>
            </a:custGeom>
          </p:spPr>
          <p:style>
            <a:lnRef idx="1">
              <a:schemeClr val="dk1"/>
            </a:lnRef>
            <a:fillRef idx="0">
              <a:schemeClr val="dk1"/>
            </a:fillRef>
            <a:effectRef idx="0">
              <a:schemeClr val="dk1"/>
            </a:effectRef>
            <a:fontRef idx="minor">
              <a:schemeClr val="tx1"/>
            </a:fontRef>
          </p:style>
          <p:txBody>
            <a:bodyPr rtlCol="0" anchor="ctr"/>
            <a:lstStyle/>
            <a:p>
              <a:endParaRPr lang="it-IT">
                <a:latin typeface="Lora" pitchFamily="2" charset="0"/>
              </a:endParaRPr>
            </a:p>
          </p:txBody>
        </p:sp>
        <p:sp>
          <p:nvSpPr>
            <p:cNvPr id="17" name="Freeform: Shape 16">
              <a:extLst>
                <a:ext uri="{FF2B5EF4-FFF2-40B4-BE49-F238E27FC236}">
                  <a16:creationId xmlns:a16="http://schemas.microsoft.com/office/drawing/2014/main" id="{4DD4DB83-58FB-4FFA-85D3-ED2384A88AF5}"/>
                </a:ext>
              </a:extLst>
            </p:cNvPr>
            <p:cNvSpPr/>
            <p:nvPr/>
          </p:nvSpPr>
          <p:spPr>
            <a:xfrm>
              <a:off x="577516" y="2470484"/>
              <a:ext cx="6866021" cy="1684421"/>
            </a:xfrm>
            <a:custGeom>
              <a:avLst/>
              <a:gdLst>
                <a:gd name="connsiteX0" fmla="*/ 0 w 6866021"/>
                <a:gd name="connsiteY0" fmla="*/ 0 h 1684421"/>
                <a:gd name="connsiteX1" fmla="*/ 2967789 w 6866021"/>
                <a:gd name="connsiteY1" fmla="*/ 1235242 h 1684421"/>
                <a:gd name="connsiteX2" fmla="*/ 6866021 w 6866021"/>
                <a:gd name="connsiteY2" fmla="*/ 1684421 h 1684421"/>
                <a:gd name="connsiteX3" fmla="*/ 6866021 w 6866021"/>
                <a:gd name="connsiteY3" fmla="*/ 1684421 h 1684421"/>
              </a:gdLst>
              <a:ahLst/>
              <a:cxnLst>
                <a:cxn ang="0">
                  <a:pos x="connsiteX0" y="connsiteY0"/>
                </a:cxn>
                <a:cxn ang="0">
                  <a:pos x="connsiteX1" y="connsiteY1"/>
                </a:cxn>
                <a:cxn ang="0">
                  <a:pos x="connsiteX2" y="connsiteY2"/>
                </a:cxn>
                <a:cxn ang="0">
                  <a:pos x="connsiteX3" y="connsiteY3"/>
                </a:cxn>
              </a:cxnLst>
              <a:rect l="l" t="t" r="r" b="b"/>
              <a:pathLst>
                <a:path w="6866021" h="1684421">
                  <a:moveTo>
                    <a:pt x="0" y="0"/>
                  </a:moveTo>
                  <a:cubicBezTo>
                    <a:pt x="911726" y="477252"/>
                    <a:pt x="1823452" y="954505"/>
                    <a:pt x="2967789" y="1235242"/>
                  </a:cubicBezTo>
                  <a:cubicBezTo>
                    <a:pt x="4112126" y="1515979"/>
                    <a:pt x="6866021" y="1684421"/>
                    <a:pt x="6866021" y="1684421"/>
                  </a:cubicBezTo>
                  <a:lnTo>
                    <a:pt x="6866021" y="1684421"/>
                  </a:lnTo>
                </a:path>
              </a:pathLst>
            </a:custGeom>
          </p:spPr>
          <p:style>
            <a:lnRef idx="1">
              <a:schemeClr val="dk1"/>
            </a:lnRef>
            <a:fillRef idx="0">
              <a:schemeClr val="dk1"/>
            </a:fillRef>
            <a:effectRef idx="0">
              <a:schemeClr val="dk1"/>
            </a:effectRef>
            <a:fontRef idx="minor">
              <a:schemeClr val="tx1"/>
            </a:fontRef>
          </p:style>
          <p:txBody>
            <a:bodyPr rtlCol="0" anchor="ctr"/>
            <a:lstStyle/>
            <a:p>
              <a:endParaRPr lang="it-IT">
                <a:latin typeface="Lora" pitchFamily="2" charset="0"/>
              </a:endParaRPr>
            </a:p>
          </p:txBody>
        </p:sp>
        <p:sp>
          <p:nvSpPr>
            <p:cNvPr id="18" name="Rectangle 17">
              <a:extLst>
                <a:ext uri="{FF2B5EF4-FFF2-40B4-BE49-F238E27FC236}">
                  <a16:creationId xmlns:a16="http://schemas.microsoft.com/office/drawing/2014/main" id="{EDAC9EA1-6F6B-4805-BA4F-22768779A91C}"/>
                </a:ext>
              </a:extLst>
            </p:cNvPr>
            <p:cNvSpPr/>
            <p:nvPr/>
          </p:nvSpPr>
          <p:spPr>
            <a:xfrm>
              <a:off x="0" y="4822990"/>
              <a:ext cx="3430052" cy="57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r>
                <a:rPr lang="it-IT" sz="1000" kern="1200" dirty="0">
                  <a:solidFill>
                    <a:schemeClr val="tx1"/>
                  </a:solidFill>
                  <a:effectLst/>
                  <a:latin typeface="Lora" pitchFamily="2" charset="0"/>
                  <a:ea typeface="Calibri" panose="020F0502020204030204" pitchFamily="34" charset="0"/>
                  <a:cs typeface="Times New Roman" panose="02020603050405020304" pitchFamily="18" charset="0"/>
                </a:rPr>
                <a:t>Cristallo perfetto</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p:txBody>
        </p:sp>
        <p:sp>
          <p:nvSpPr>
            <p:cNvPr id="19" name="Rectangle 18">
              <a:extLst>
                <a:ext uri="{FF2B5EF4-FFF2-40B4-BE49-F238E27FC236}">
                  <a16:creationId xmlns:a16="http://schemas.microsoft.com/office/drawing/2014/main" id="{020BDA0D-C377-41DF-9B27-3F8BB71139D2}"/>
                </a:ext>
              </a:extLst>
            </p:cNvPr>
            <p:cNvSpPr/>
            <p:nvPr/>
          </p:nvSpPr>
          <p:spPr>
            <a:xfrm>
              <a:off x="5174180" y="4897858"/>
              <a:ext cx="2717136" cy="4211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r>
                <a:rPr lang="it-IT" sz="1000" kern="1200" dirty="0">
                  <a:solidFill>
                    <a:schemeClr val="tx1"/>
                  </a:solidFill>
                  <a:effectLst/>
                  <a:latin typeface="Lora" pitchFamily="2" charset="0"/>
                  <a:ea typeface="Calibri" panose="020F0502020204030204" pitchFamily="34" charset="0"/>
                  <a:cs typeface="Times New Roman" panose="02020603050405020304" pitchFamily="18" charset="0"/>
                </a:rPr>
                <a:t>Gas ideal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p:txBody>
        </p:sp>
        <mc:AlternateContent xmlns:mc="http://schemas.openxmlformats.org/markup-compatibility/2006" xmlns:a14="http://schemas.microsoft.com/office/drawing/2010/main">
          <mc:Choice Requires="a14">
            <p:sp>
              <p:nvSpPr>
                <p:cNvPr id="20" name="Rectangle 19">
                  <a:extLst>
                    <a:ext uri="{FF2B5EF4-FFF2-40B4-BE49-F238E27FC236}">
                      <a16:creationId xmlns:a16="http://schemas.microsoft.com/office/drawing/2014/main" id="{BFD0A50A-F9CD-4A55-989C-27689196E03D}"/>
                    </a:ext>
                  </a:extLst>
                </p:cNvPr>
                <p:cNvSpPr/>
                <p:nvPr/>
              </p:nvSpPr>
              <p:spPr>
                <a:xfrm>
                  <a:off x="3737746" y="368917"/>
                  <a:ext cx="3481135" cy="7176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14:m>
                    <m:oMathPara xmlns:m="http://schemas.openxmlformats.org/officeDocument/2006/math">
                      <m:oMathParaPr>
                        <m:jc m:val="centerGroup"/>
                      </m:oMathParaPr>
                      <m:oMath xmlns:m="http://schemas.openxmlformats.org/officeDocument/2006/math">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𝐼𝑁𝐹𝑂𝑅𝑀𝐴𝑍𝐼𝑂𝑁𝐸</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𝐻</m:t>
                        </m:r>
                      </m:oMath>
                    </m:oMathPara>
                  </a14:m>
                  <a:endParaRPr lang="it-IT" sz="800" dirty="0">
                    <a:solidFill>
                      <a:schemeClr val="tx1"/>
                    </a:solidFill>
                    <a:effectLst/>
                    <a:latin typeface="Lora" pitchFamily="2" charset="0"/>
                    <a:ea typeface="Calibri" panose="020F0502020204030204" pitchFamily="34" charset="0"/>
                    <a:cs typeface="Times New Roman" panose="02020603050405020304" pitchFamily="18" charset="0"/>
                  </a:endParaRPr>
                </a:p>
              </p:txBody>
            </p:sp>
          </mc:Choice>
          <mc:Fallback xmlns="">
            <p:sp>
              <p:nvSpPr>
                <p:cNvPr id="20" name="Rectangle 19">
                  <a:extLst>
                    <a:ext uri="{FF2B5EF4-FFF2-40B4-BE49-F238E27FC236}">
                      <a16:creationId xmlns:a16="http://schemas.microsoft.com/office/drawing/2014/main" id="{BFD0A50A-F9CD-4A55-989C-27689196E03D}"/>
                    </a:ext>
                  </a:extLst>
                </p:cNvPr>
                <p:cNvSpPr>
                  <a:spLocks noRot="1" noChangeAspect="1" noMove="1" noResize="1" noEditPoints="1" noAdjustHandles="1" noChangeArrowheads="1" noChangeShapeType="1" noTextEdit="1"/>
                </p:cNvSpPr>
                <p:nvPr/>
              </p:nvSpPr>
              <p:spPr>
                <a:xfrm>
                  <a:off x="3737746" y="368917"/>
                  <a:ext cx="3481135" cy="717611"/>
                </a:xfrm>
                <a:prstGeom prst="rect">
                  <a:avLst/>
                </a:prstGeom>
                <a:blipFill>
                  <a:blip r:embed="rId9"/>
                  <a:stretch>
                    <a:fillRect/>
                  </a:stretch>
                </a:blipFill>
                <a:ln>
                  <a:noFill/>
                </a:ln>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21" name="Rectangle 20">
                  <a:extLst>
                    <a:ext uri="{FF2B5EF4-FFF2-40B4-BE49-F238E27FC236}">
                      <a16:creationId xmlns:a16="http://schemas.microsoft.com/office/drawing/2014/main" id="{D681D5EC-489A-4CD0-AA79-30471FC00FEB}"/>
                    </a:ext>
                  </a:extLst>
                </p:cNvPr>
                <p:cNvSpPr/>
                <p:nvPr/>
              </p:nvSpPr>
              <p:spPr>
                <a:xfrm>
                  <a:off x="4138399" y="2722823"/>
                  <a:ext cx="3435013" cy="8633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14:m>
                    <m:oMathPara xmlns:m="http://schemas.openxmlformats.org/officeDocument/2006/math">
                      <m:oMathParaPr>
                        <m:jc m:val="centerGroup"/>
                      </m:oMathParaPr>
                      <m:oMath xmlns:m="http://schemas.openxmlformats.org/officeDocument/2006/math">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𝐶𝑂𝑀𝑃𝐿𝐸𝑆𝑆𝐼𝑇</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À =</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𝐻</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𝐷</m:t>
                        </m:r>
                      </m:oMath>
                    </m:oMathPara>
                  </a14:m>
                  <a:endParaRPr lang="it-IT" sz="800" dirty="0">
                    <a:solidFill>
                      <a:schemeClr val="tx1"/>
                    </a:solidFill>
                    <a:effectLst/>
                    <a:latin typeface="Lora" pitchFamily="2" charset="0"/>
                    <a:ea typeface="Calibri" panose="020F0502020204030204" pitchFamily="34" charset="0"/>
                    <a:cs typeface="Times New Roman" panose="02020603050405020304" pitchFamily="18" charset="0"/>
                  </a:endParaRPr>
                </a:p>
              </p:txBody>
            </p:sp>
          </mc:Choice>
          <mc:Fallback xmlns="">
            <p:sp>
              <p:nvSpPr>
                <p:cNvPr id="21" name="Rectangle 20">
                  <a:extLst>
                    <a:ext uri="{FF2B5EF4-FFF2-40B4-BE49-F238E27FC236}">
                      <a16:creationId xmlns:a16="http://schemas.microsoft.com/office/drawing/2014/main" id="{D681D5EC-489A-4CD0-AA79-30471FC00FEB}"/>
                    </a:ext>
                  </a:extLst>
                </p:cNvPr>
                <p:cNvSpPr>
                  <a:spLocks noRot="1" noChangeAspect="1" noMove="1" noResize="1" noEditPoints="1" noAdjustHandles="1" noChangeArrowheads="1" noChangeShapeType="1" noTextEdit="1"/>
                </p:cNvSpPr>
                <p:nvPr/>
              </p:nvSpPr>
              <p:spPr>
                <a:xfrm>
                  <a:off x="4138399" y="2722823"/>
                  <a:ext cx="3435013" cy="863324"/>
                </a:xfrm>
                <a:prstGeom prst="rect">
                  <a:avLst/>
                </a:prstGeom>
                <a:blipFill>
                  <a:blip r:embed="rId10"/>
                  <a:stretch>
                    <a:fillRect/>
                  </a:stretch>
                </a:blipFill>
                <a:ln>
                  <a:noFill/>
                </a:ln>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22" name="Rectangle 21">
                  <a:extLst>
                    <a:ext uri="{FF2B5EF4-FFF2-40B4-BE49-F238E27FC236}">
                      <a16:creationId xmlns:a16="http://schemas.microsoft.com/office/drawing/2014/main" id="{EE584292-3CCD-4216-A189-513FECBFB5F5}"/>
                    </a:ext>
                  </a:extLst>
                </p:cNvPr>
                <p:cNvSpPr/>
                <p:nvPr/>
              </p:nvSpPr>
              <p:spPr>
                <a:xfrm>
                  <a:off x="1892969" y="4086678"/>
                  <a:ext cx="3435013" cy="665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14:m>
                    <m:oMathPara xmlns:m="http://schemas.openxmlformats.org/officeDocument/2006/math">
                      <m:oMathParaPr>
                        <m:jc m:val="centerGroup"/>
                      </m:oMathParaPr>
                      <m:oMath xmlns:m="http://schemas.openxmlformats.org/officeDocument/2006/math">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𝐷𝐼𝑆𝐸𝑄𝑈𝐼𝐿𝐼𝐵𝑅𝐼𝑂</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 =</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𝐷</m:t>
                        </m:r>
                      </m:oMath>
                    </m:oMathPara>
                  </a14:m>
                  <a:endParaRPr lang="it-IT" sz="800" dirty="0">
                    <a:solidFill>
                      <a:schemeClr val="tx1"/>
                    </a:solidFill>
                    <a:effectLst/>
                    <a:latin typeface="Lora" pitchFamily="2" charset="0"/>
                    <a:ea typeface="Calibri" panose="020F0502020204030204" pitchFamily="34" charset="0"/>
                    <a:cs typeface="Times New Roman" panose="02020603050405020304" pitchFamily="18" charset="0"/>
                  </a:endParaRPr>
                </a:p>
              </p:txBody>
            </p:sp>
          </mc:Choice>
          <mc:Fallback xmlns="">
            <p:sp>
              <p:nvSpPr>
                <p:cNvPr id="22" name="Rectangle 21">
                  <a:extLst>
                    <a:ext uri="{FF2B5EF4-FFF2-40B4-BE49-F238E27FC236}">
                      <a16:creationId xmlns:a16="http://schemas.microsoft.com/office/drawing/2014/main" id="{EE584292-3CCD-4216-A189-513FECBFB5F5}"/>
                    </a:ext>
                  </a:extLst>
                </p:cNvPr>
                <p:cNvSpPr>
                  <a:spLocks noRot="1" noChangeAspect="1" noMove="1" noResize="1" noEditPoints="1" noAdjustHandles="1" noChangeArrowheads="1" noChangeShapeType="1" noTextEdit="1"/>
                </p:cNvSpPr>
                <p:nvPr/>
              </p:nvSpPr>
              <p:spPr>
                <a:xfrm>
                  <a:off x="1892969" y="4086678"/>
                  <a:ext cx="3435013" cy="665841"/>
                </a:xfrm>
                <a:prstGeom prst="rect">
                  <a:avLst/>
                </a:prstGeom>
                <a:blipFill>
                  <a:blip r:embed="rId11"/>
                  <a:stretch>
                    <a:fillRect/>
                  </a:stretch>
                </a:blipFill>
                <a:ln>
                  <a:noFill/>
                </a:ln>
              </p:spPr>
              <p:txBody>
                <a:bodyPr/>
                <a:lstStyle/>
                <a:p>
                  <a:r>
                    <a:rPr lang="it-IT">
                      <a:noFill/>
                    </a:rPr>
                    <a:t> </a:t>
                  </a:r>
                </a:p>
              </p:txBody>
            </p:sp>
          </mc:Fallback>
        </mc:AlternateContent>
      </p:gr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6CC97D82-ADD1-4C19-A3BB-819209CE8733}"/>
                  </a:ext>
                </a:extLst>
              </p:cNvPr>
              <p:cNvSpPr txBox="1"/>
              <p:nvPr/>
            </p:nvSpPr>
            <p:spPr>
              <a:xfrm>
                <a:off x="7280885" y="4993512"/>
                <a:ext cx="4114800" cy="785921"/>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it-IT" sz="1400" i="1" smtClean="0">
                          <a:solidFill>
                            <a:schemeClr val="tx1"/>
                          </a:solidFill>
                          <a:latin typeface="Cambria Math" panose="02040503050406030204" pitchFamily="18" charset="0"/>
                        </a:rPr>
                        <m:t>𝐶</m:t>
                      </m:r>
                      <m:r>
                        <a:rPr lang="it-IT" sz="1400" i="0">
                          <a:solidFill>
                            <a:schemeClr val="tx1"/>
                          </a:solidFill>
                          <a:latin typeface="Cambria Math" panose="02040503050406030204" pitchFamily="18" charset="0"/>
                        </a:rPr>
                        <m:t>=</m:t>
                      </m:r>
                      <m:r>
                        <a:rPr lang="it-IT" sz="1400" i="1">
                          <a:solidFill>
                            <a:schemeClr val="tx1"/>
                          </a:solidFill>
                          <a:latin typeface="Cambria Math" panose="02040503050406030204" pitchFamily="18" charset="0"/>
                        </a:rPr>
                        <m:t>𝐻</m:t>
                      </m:r>
                      <m:r>
                        <a:rPr lang="it-IT" sz="1400" i="0">
                          <a:solidFill>
                            <a:schemeClr val="tx1"/>
                          </a:solidFill>
                          <a:latin typeface="Cambria Math" panose="02040503050406030204" pitchFamily="18" charset="0"/>
                        </a:rPr>
                        <m:t>∗</m:t>
                      </m:r>
                      <m:r>
                        <a:rPr lang="it-IT" sz="1400" i="1">
                          <a:solidFill>
                            <a:schemeClr val="tx1"/>
                          </a:solidFill>
                          <a:latin typeface="Cambria Math" panose="02040503050406030204" pitchFamily="18" charset="0"/>
                        </a:rPr>
                        <m:t>𝐷</m:t>
                      </m:r>
                      <m:r>
                        <a:rPr lang="it-IT" sz="1400" i="0">
                          <a:solidFill>
                            <a:schemeClr val="tx1"/>
                          </a:solidFill>
                          <a:latin typeface="Cambria Math" panose="02040503050406030204" pitchFamily="18" charset="0"/>
                        </a:rPr>
                        <m:t>=−</m:t>
                      </m:r>
                      <m:d>
                        <m:dPr>
                          <m:ctrlPr>
                            <a:rPr lang="it-IT" sz="1400" i="1">
                              <a:solidFill>
                                <a:schemeClr val="tx1"/>
                              </a:solidFill>
                              <a:latin typeface="Cambria Math" panose="02040503050406030204" pitchFamily="18" charset="0"/>
                            </a:rPr>
                          </m:ctrlPr>
                        </m:dPr>
                        <m:e>
                          <m:nary>
                            <m:naryPr>
                              <m:chr m:val="∑"/>
                              <m:limLoc m:val="undOvr"/>
                              <m:ctrlPr>
                                <a:rPr lang="it-IT" sz="1400" i="1">
                                  <a:solidFill>
                                    <a:schemeClr val="tx1"/>
                                  </a:solidFill>
                                  <a:latin typeface="Cambria Math" panose="02040503050406030204" pitchFamily="18" charset="0"/>
                                </a:rPr>
                              </m:ctrlPr>
                            </m:naryPr>
                            <m:sub>
                              <m:r>
                                <a:rPr lang="it-IT" sz="1400" i="1">
                                  <a:solidFill>
                                    <a:schemeClr val="tx1"/>
                                  </a:solidFill>
                                  <a:latin typeface="Cambria Math" panose="02040503050406030204" pitchFamily="18" charset="0"/>
                                </a:rPr>
                                <m:t>𝑖</m:t>
                              </m:r>
                              <m:r>
                                <a:rPr lang="it-IT" sz="1400" i="0">
                                  <a:solidFill>
                                    <a:schemeClr val="tx1"/>
                                  </a:solidFill>
                                  <a:latin typeface="Cambria Math" panose="02040503050406030204" pitchFamily="18" charset="0"/>
                                </a:rPr>
                                <m:t>=1</m:t>
                              </m:r>
                            </m:sub>
                            <m:sup>
                              <m:r>
                                <a:rPr lang="it-IT" sz="1400" i="1">
                                  <a:solidFill>
                                    <a:schemeClr val="tx1"/>
                                  </a:solidFill>
                                  <a:latin typeface="Cambria Math" panose="02040503050406030204" pitchFamily="18" charset="0"/>
                                </a:rPr>
                                <m:t>𝑁</m:t>
                              </m:r>
                            </m:sup>
                            <m:e>
                              <m:sSub>
                                <m:sSubPr>
                                  <m:ctrlPr>
                                    <a:rPr lang="it-IT" sz="1400" i="1">
                                      <a:solidFill>
                                        <a:schemeClr val="tx1"/>
                                      </a:solidFill>
                                      <a:latin typeface="Cambria Math" panose="02040503050406030204" pitchFamily="18" charset="0"/>
                                    </a:rPr>
                                  </m:ctrlPr>
                                </m:sSubPr>
                                <m:e>
                                  <m:r>
                                    <a:rPr lang="it-IT" sz="1400" i="1">
                                      <a:solidFill>
                                        <a:schemeClr val="tx1"/>
                                      </a:solidFill>
                                      <a:latin typeface="Cambria Math" panose="02040503050406030204" pitchFamily="18" charset="0"/>
                                    </a:rPr>
                                    <m:t>𝑝</m:t>
                                  </m:r>
                                </m:e>
                                <m:sub>
                                  <m:r>
                                    <a:rPr lang="it-IT" sz="1400" i="1">
                                      <a:solidFill>
                                        <a:schemeClr val="tx1"/>
                                      </a:solidFill>
                                      <a:latin typeface="Cambria Math" panose="02040503050406030204" pitchFamily="18" charset="0"/>
                                    </a:rPr>
                                    <m:t>𝑖</m:t>
                                  </m:r>
                                </m:sub>
                              </m:sSub>
                              <m:func>
                                <m:funcPr>
                                  <m:ctrlPr>
                                    <a:rPr lang="it-IT" sz="1400" i="1">
                                      <a:solidFill>
                                        <a:schemeClr val="tx1"/>
                                      </a:solidFill>
                                      <a:latin typeface="Cambria Math" panose="02040503050406030204" pitchFamily="18" charset="0"/>
                                    </a:rPr>
                                  </m:ctrlPr>
                                </m:funcPr>
                                <m:fName>
                                  <m:r>
                                    <m:rPr>
                                      <m:sty m:val="p"/>
                                    </m:rPr>
                                    <a:rPr lang="it-IT" sz="1400" i="0">
                                      <a:solidFill>
                                        <a:schemeClr val="tx1"/>
                                      </a:solidFill>
                                      <a:latin typeface="Cambria Math" panose="02040503050406030204" pitchFamily="18" charset="0"/>
                                    </a:rPr>
                                    <m:t>log</m:t>
                                  </m:r>
                                </m:fName>
                                <m:e>
                                  <m:sSub>
                                    <m:sSubPr>
                                      <m:ctrlPr>
                                        <a:rPr lang="it-IT" sz="1400" i="1">
                                          <a:solidFill>
                                            <a:schemeClr val="tx1"/>
                                          </a:solidFill>
                                          <a:latin typeface="Cambria Math" panose="02040503050406030204" pitchFamily="18" charset="0"/>
                                        </a:rPr>
                                      </m:ctrlPr>
                                    </m:sSubPr>
                                    <m:e>
                                      <m:r>
                                        <a:rPr lang="it-IT" sz="1400" i="1">
                                          <a:solidFill>
                                            <a:schemeClr val="tx1"/>
                                          </a:solidFill>
                                          <a:latin typeface="Cambria Math" panose="02040503050406030204" pitchFamily="18" charset="0"/>
                                        </a:rPr>
                                        <m:t>𝑝</m:t>
                                      </m:r>
                                    </m:e>
                                    <m:sub>
                                      <m:r>
                                        <a:rPr lang="it-IT" sz="1400" i="1">
                                          <a:solidFill>
                                            <a:schemeClr val="tx1"/>
                                          </a:solidFill>
                                          <a:latin typeface="Cambria Math" panose="02040503050406030204" pitchFamily="18" charset="0"/>
                                        </a:rPr>
                                        <m:t>𝑖</m:t>
                                      </m:r>
                                    </m:sub>
                                  </m:sSub>
                                </m:e>
                              </m:func>
                            </m:e>
                          </m:nary>
                        </m:e>
                      </m:d>
                      <m:r>
                        <a:rPr lang="it-IT" sz="1400" i="0">
                          <a:solidFill>
                            <a:schemeClr val="tx1"/>
                          </a:solidFill>
                          <a:latin typeface="Cambria Math" panose="02040503050406030204" pitchFamily="18" charset="0"/>
                        </a:rPr>
                        <m:t>∗</m:t>
                      </m:r>
                      <m:d>
                        <m:dPr>
                          <m:ctrlPr>
                            <a:rPr lang="it-IT" sz="1400" i="1">
                              <a:solidFill>
                                <a:schemeClr val="tx1"/>
                              </a:solidFill>
                              <a:latin typeface="Cambria Math" panose="02040503050406030204" pitchFamily="18" charset="0"/>
                            </a:rPr>
                          </m:ctrlPr>
                        </m:dPr>
                        <m:e>
                          <m:nary>
                            <m:naryPr>
                              <m:chr m:val="∑"/>
                              <m:limLoc m:val="undOvr"/>
                              <m:ctrlPr>
                                <a:rPr lang="it-IT" sz="1400" i="1">
                                  <a:solidFill>
                                    <a:schemeClr val="tx1"/>
                                  </a:solidFill>
                                  <a:latin typeface="Cambria Math" panose="02040503050406030204" pitchFamily="18" charset="0"/>
                                </a:rPr>
                              </m:ctrlPr>
                            </m:naryPr>
                            <m:sub>
                              <m:r>
                                <a:rPr lang="it-IT" sz="1400" i="1">
                                  <a:solidFill>
                                    <a:schemeClr val="tx1"/>
                                  </a:solidFill>
                                  <a:latin typeface="Cambria Math" panose="02040503050406030204" pitchFamily="18" charset="0"/>
                                </a:rPr>
                                <m:t>𝑖</m:t>
                              </m:r>
                              <m:r>
                                <a:rPr lang="it-IT" sz="1400" i="0">
                                  <a:solidFill>
                                    <a:schemeClr val="tx1"/>
                                  </a:solidFill>
                                  <a:latin typeface="Cambria Math" panose="02040503050406030204" pitchFamily="18" charset="0"/>
                                </a:rPr>
                                <m:t>=1</m:t>
                              </m:r>
                            </m:sub>
                            <m:sup>
                              <m:r>
                                <a:rPr lang="it-IT" sz="1400" i="1">
                                  <a:solidFill>
                                    <a:schemeClr val="tx1"/>
                                  </a:solidFill>
                                  <a:latin typeface="Cambria Math" panose="02040503050406030204" pitchFamily="18" charset="0"/>
                                </a:rPr>
                                <m:t>𝑁</m:t>
                              </m:r>
                            </m:sup>
                            <m:e>
                              <m:sSup>
                                <m:sSupPr>
                                  <m:ctrlPr>
                                    <a:rPr lang="it-IT" sz="1400" i="1">
                                      <a:solidFill>
                                        <a:schemeClr val="tx1"/>
                                      </a:solidFill>
                                      <a:latin typeface="Cambria Math" panose="02040503050406030204" pitchFamily="18" charset="0"/>
                                    </a:rPr>
                                  </m:ctrlPr>
                                </m:sSupPr>
                                <m:e>
                                  <m:d>
                                    <m:dPr>
                                      <m:ctrlPr>
                                        <a:rPr lang="it-IT" sz="1400" i="1">
                                          <a:solidFill>
                                            <a:schemeClr val="tx1"/>
                                          </a:solidFill>
                                          <a:latin typeface="Cambria Math" panose="02040503050406030204" pitchFamily="18" charset="0"/>
                                        </a:rPr>
                                      </m:ctrlPr>
                                    </m:dPr>
                                    <m:e>
                                      <m:sSub>
                                        <m:sSubPr>
                                          <m:ctrlPr>
                                            <a:rPr lang="it-IT" sz="1400" i="1">
                                              <a:solidFill>
                                                <a:schemeClr val="tx1"/>
                                              </a:solidFill>
                                              <a:latin typeface="Cambria Math" panose="02040503050406030204" pitchFamily="18" charset="0"/>
                                            </a:rPr>
                                          </m:ctrlPr>
                                        </m:sSubPr>
                                        <m:e>
                                          <m:r>
                                            <a:rPr lang="it-IT" sz="1400" i="1">
                                              <a:solidFill>
                                                <a:schemeClr val="tx1"/>
                                              </a:solidFill>
                                              <a:latin typeface="Cambria Math" panose="02040503050406030204" pitchFamily="18" charset="0"/>
                                            </a:rPr>
                                            <m:t>𝑝</m:t>
                                          </m:r>
                                        </m:e>
                                        <m:sub>
                                          <m:r>
                                            <a:rPr lang="it-IT" sz="1400" i="1">
                                              <a:solidFill>
                                                <a:schemeClr val="tx1"/>
                                              </a:solidFill>
                                              <a:latin typeface="Cambria Math" panose="02040503050406030204" pitchFamily="18" charset="0"/>
                                            </a:rPr>
                                            <m:t>𝑖</m:t>
                                          </m:r>
                                        </m:sub>
                                      </m:sSub>
                                      <m:r>
                                        <a:rPr lang="it-IT" sz="1400" i="0">
                                          <a:solidFill>
                                            <a:schemeClr val="tx1"/>
                                          </a:solidFill>
                                          <a:latin typeface="Cambria Math" panose="02040503050406030204" pitchFamily="18" charset="0"/>
                                        </a:rPr>
                                        <m:t>−</m:t>
                                      </m:r>
                                      <m:f>
                                        <m:fPr>
                                          <m:ctrlPr>
                                            <a:rPr lang="it-IT" sz="1400" i="1">
                                              <a:solidFill>
                                                <a:schemeClr val="tx1"/>
                                              </a:solidFill>
                                              <a:latin typeface="Cambria Math" panose="02040503050406030204" pitchFamily="18" charset="0"/>
                                            </a:rPr>
                                          </m:ctrlPr>
                                        </m:fPr>
                                        <m:num>
                                          <m:r>
                                            <a:rPr lang="it-IT" sz="1400" i="0">
                                              <a:solidFill>
                                                <a:schemeClr val="tx1"/>
                                              </a:solidFill>
                                              <a:latin typeface="Cambria Math" panose="02040503050406030204" pitchFamily="18" charset="0"/>
                                            </a:rPr>
                                            <m:t>1</m:t>
                                          </m:r>
                                        </m:num>
                                        <m:den>
                                          <m:r>
                                            <a:rPr lang="it-IT" sz="1400" i="1">
                                              <a:solidFill>
                                                <a:schemeClr val="tx1"/>
                                              </a:solidFill>
                                              <a:latin typeface="Cambria Math" panose="02040503050406030204" pitchFamily="18" charset="0"/>
                                            </a:rPr>
                                            <m:t>𝑁</m:t>
                                          </m:r>
                                        </m:den>
                                      </m:f>
                                    </m:e>
                                  </m:d>
                                </m:e>
                                <m:sup>
                                  <m:r>
                                    <a:rPr lang="it-IT" sz="1400" i="0">
                                      <a:solidFill>
                                        <a:schemeClr val="tx1"/>
                                      </a:solidFill>
                                      <a:latin typeface="Cambria Math" panose="02040503050406030204" pitchFamily="18" charset="0"/>
                                    </a:rPr>
                                    <m:t>2</m:t>
                                  </m:r>
                                </m:sup>
                              </m:sSup>
                            </m:e>
                          </m:nary>
                        </m:e>
                      </m:d>
                    </m:oMath>
                  </m:oMathPara>
                </a14:m>
                <a:endParaRPr lang="it-IT" sz="1400" dirty="0">
                  <a:solidFill>
                    <a:schemeClr val="tx1"/>
                  </a:solidFill>
                </a:endParaRPr>
              </a:p>
            </p:txBody>
          </p:sp>
        </mc:Choice>
        <mc:Fallback xmlns="">
          <p:sp>
            <p:nvSpPr>
              <p:cNvPr id="25" name="TextBox 24">
                <a:extLst>
                  <a:ext uri="{FF2B5EF4-FFF2-40B4-BE49-F238E27FC236}">
                    <a16:creationId xmlns:a16="http://schemas.microsoft.com/office/drawing/2014/main" id="{6CC97D82-ADD1-4C19-A3BB-819209CE8733}"/>
                  </a:ext>
                </a:extLst>
              </p:cNvPr>
              <p:cNvSpPr txBox="1">
                <a:spLocks noRot="1" noChangeAspect="1" noMove="1" noResize="1" noEditPoints="1" noAdjustHandles="1" noChangeArrowheads="1" noChangeShapeType="1" noTextEdit="1"/>
              </p:cNvSpPr>
              <p:nvPr/>
            </p:nvSpPr>
            <p:spPr>
              <a:xfrm>
                <a:off x="7280885" y="4993512"/>
                <a:ext cx="4114800" cy="785921"/>
              </a:xfrm>
              <a:prstGeom prst="rect">
                <a:avLst/>
              </a:prstGeom>
              <a:blipFill>
                <a:blip r:embed="rId12"/>
                <a:stretch>
                  <a:fillRect/>
                </a:stretch>
              </a:blipFill>
            </p:spPr>
            <p:txBody>
              <a:bodyPr/>
              <a:lstStyle/>
              <a:p>
                <a:r>
                  <a:rPr lang="it-IT">
                    <a:noFill/>
                  </a:rPr>
                  <a:t> </a:t>
                </a:r>
              </a:p>
            </p:txBody>
          </p:sp>
        </mc:Fallback>
      </mc:AlternateContent>
      <p:sp>
        <p:nvSpPr>
          <p:cNvPr id="23" name="Freeform: Shape 22">
            <a:extLst>
              <a:ext uri="{FF2B5EF4-FFF2-40B4-BE49-F238E27FC236}">
                <a16:creationId xmlns:a16="http://schemas.microsoft.com/office/drawing/2014/main" id="{EF2EE201-4ABB-44CF-858E-A35082CAFF68}"/>
              </a:ext>
            </a:extLst>
          </p:cNvPr>
          <p:cNvSpPr/>
          <p:nvPr/>
        </p:nvSpPr>
        <p:spPr>
          <a:xfrm>
            <a:off x="6822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buFont typeface="Arial" panose="020B0604020202020204" pitchFamily="34" charset="0"/>
              <a:buChar char="•"/>
            </a:pPr>
            <a:r>
              <a:rPr lang="en-US" sz="1600" dirty="0">
                <a:solidFill>
                  <a:schemeClr val="tx1"/>
                </a:solidFill>
                <a:latin typeface="Lora" pitchFamily="2" charset="0"/>
                <a:ea typeface="Inter" panose="02000503000000020004" pitchFamily="2" charset="0"/>
              </a:rPr>
              <a:t>“</a:t>
            </a:r>
            <a:r>
              <a:rPr lang="en-US" sz="1600" i="1" dirty="0">
                <a:solidFill>
                  <a:schemeClr val="tx1"/>
                </a:solidFill>
                <a:latin typeface="Lora" pitchFamily="2" charset="0"/>
                <a:ea typeface="Inter" panose="02000503000000020004" pitchFamily="2" charset="0"/>
              </a:rPr>
              <a:t>A market in which prices always ‘fully reflect’ available information is called ‘</a:t>
            </a:r>
            <a:r>
              <a:rPr lang="en-US" sz="1600" b="1" i="1" dirty="0">
                <a:solidFill>
                  <a:schemeClr val="tx1"/>
                </a:solidFill>
                <a:latin typeface="Lora" pitchFamily="2" charset="0"/>
                <a:ea typeface="Inter" panose="02000503000000020004" pitchFamily="2" charset="0"/>
              </a:rPr>
              <a:t>efficient</a:t>
            </a:r>
            <a:r>
              <a:rPr lang="en-US" sz="1600" i="1" dirty="0">
                <a:solidFill>
                  <a:schemeClr val="tx1"/>
                </a:solidFill>
                <a:latin typeface="Lora" pitchFamily="2" charset="0"/>
                <a:ea typeface="Inter" panose="02000503000000020004" pitchFamily="2" charset="0"/>
              </a:rPr>
              <a:t>.’ </a:t>
            </a:r>
            <a:r>
              <a:rPr lang="en-US" sz="1600" dirty="0">
                <a:solidFill>
                  <a:schemeClr val="tx1"/>
                </a:solidFill>
                <a:latin typeface="Lora" pitchFamily="2" charset="0"/>
                <a:ea typeface="Inter" panose="02000503000000020004" pitchFamily="2" charset="0"/>
              </a:rPr>
              <a:t>” E. F. </a:t>
            </a:r>
            <a:r>
              <a:rPr lang="en-US" sz="1600" dirty="0" err="1">
                <a:solidFill>
                  <a:schemeClr val="tx1"/>
                </a:solidFill>
                <a:latin typeface="Lora" pitchFamily="2" charset="0"/>
                <a:ea typeface="Inter" panose="02000503000000020004" pitchFamily="2" charset="0"/>
              </a:rPr>
              <a:t>Fama</a:t>
            </a:r>
            <a:r>
              <a:rPr lang="en-US" sz="1600" dirty="0">
                <a:solidFill>
                  <a:schemeClr val="tx1"/>
                </a:solidFill>
                <a:latin typeface="Lora" pitchFamily="2" charset="0"/>
                <a:ea typeface="Inter" panose="02000503000000020004" pitchFamily="2" charset="0"/>
              </a:rPr>
              <a:t>, Efficient Capital Markets: A Review of Theory and Empirical Work, 1970</a:t>
            </a:r>
          </a:p>
          <a:p>
            <a:pPr marL="285750" indent="-285750">
              <a:buFont typeface="Arial" panose="020B0604020202020204" pitchFamily="34" charset="0"/>
              <a:buChar char="•"/>
            </a:pPr>
            <a:r>
              <a:rPr lang="en-US" sz="1600" dirty="0">
                <a:solidFill>
                  <a:schemeClr val="tx1"/>
                </a:solidFill>
                <a:latin typeface="Lora" pitchFamily="2" charset="0"/>
                <a:ea typeface="Inter" panose="02000503000000020004" pitchFamily="2" charset="0"/>
              </a:rPr>
              <a:t>Se </a:t>
            </a:r>
            <a:r>
              <a:rPr lang="en-US" sz="1600" dirty="0" err="1">
                <a:solidFill>
                  <a:schemeClr val="tx1"/>
                </a:solidFill>
                <a:latin typeface="Lora" pitchFamily="2" charset="0"/>
                <a:ea typeface="Inter" panose="02000503000000020004" pitchFamily="2" charset="0"/>
              </a:rPr>
              <a:t>l’entropia</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della</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serie</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temporale</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finanziaria</a:t>
            </a:r>
            <a:r>
              <a:rPr lang="en-US" sz="1600" dirty="0">
                <a:solidFill>
                  <a:schemeClr val="tx1"/>
                </a:solidFill>
                <a:latin typeface="Lora" pitchFamily="2" charset="0"/>
                <a:ea typeface="Inter" panose="02000503000000020004" pitchFamily="2" charset="0"/>
              </a:rPr>
              <a:t> è </a:t>
            </a:r>
            <a:r>
              <a:rPr lang="en-US" sz="1600" dirty="0" err="1">
                <a:solidFill>
                  <a:schemeClr val="tx1"/>
                </a:solidFill>
                <a:latin typeface="Lora" pitchFamily="2" charset="0"/>
                <a:ea typeface="Inter" panose="02000503000000020004" pitchFamily="2" charset="0"/>
              </a:rPr>
              <a:t>uguale</a:t>
            </a:r>
            <a:r>
              <a:rPr lang="en-US" sz="1600" dirty="0">
                <a:solidFill>
                  <a:schemeClr val="tx1"/>
                </a:solidFill>
                <a:latin typeface="Lora" pitchFamily="2" charset="0"/>
                <a:ea typeface="Inter" panose="02000503000000020004" pitchFamily="2" charset="0"/>
              </a:rPr>
              <a:t> a 1 </a:t>
            </a:r>
            <a:r>
              <a:rPr lang="en-US" sz="1600" dirty="0" err="1">
                <a:solidFill>
                  <a:schemeClr val="tx1"/>
                </a:solidFill>
                <a:latin typeface="Lora" pitchFamily="2" charset="0"/>
                <a:ea typeface="Inter" panose="02000503000000020004" pitchFamily="2" charset="0"/>
              </a:rPr>
              <a:t>allora</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si</a:t>
            </a:r>
            <a:r>
              <a:rPr lang="en-US" sz="1600" dirty="0">
                <a:solidFill>
                  <a:schemeClr val="tx1"/>
                </a:solidFill>
                <a:latin typeface="Lora" pitchFamily="2" charset="0"/>
                <a:ea typeface="Inter" panose="02000503000000020004" pitchFamily="2" charset="0"/>
              </a:rPr>
              <a:t> è in </a:t>
            </a:r>
            <a:r>
              <a:rPr lang="en-US" sz="1600" dirty="0" err="1">
                <a:solidFill>
                  <a:schemeClr val="tx1"/>
                </a:solidFill>
                <a:latin typeface="Lora" pitchFamily="2" charset="0"/>
                <a:ea typeface="Inter" panose="02000503000000020004" pitchFamily="2" charset="0"/>
              </a:rPr>
              <a:t>presenza</a:t>
            </a:r>
            <a:r>
              <a:rPr lang="en-US" sz="1600" dirty="0">
                <a:solidFill>
                  <a:schemeClr val="tx1"/>
                </a:solidFill>
                <a:latin typeface="Lora" pitchFamily="2" charset="0"/>
                <a:ea typeface="Inter" panose="02000503000000020004" pitchFamily="2" charset="0"/>
              </a:rPr>
              <a:t> di un random walk. </a:t>
            </a:r>
            <a:r>
              <a:rPr lang="en-US" sz="1600" dirty="0" err="1">
                <a:solidFill>
                  <a:schemeClr val="tx1"/>
                </a:solidFill>
                <a:latin typeface="Lora" pitchFamily="2" charset="0"/>
                <a:ea typeface="Inter" panose="02000503000000020004" pitchFamily="2" charset="0"/>
              </a:rPr>
              <a:t>Nessuno</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degli</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stati</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americani</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raggiunge</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l’entropia</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massima</a:t>
            </a:r>
            <a:endParaRPr lang="en-US" sz="1600" dirty="0">
              <a:solidFill>
                <a:schemeClr val="tx1"/>
              </a:solidFill>
              <a:latin typeface="Lora" pitchFamily="2" charset="0"/>
              <a:ea typeface="Inter" panose="02000503000000020004" pitchFamily="2" charset="0"/>
            </a:endParaRPr>
          </a:p>
          <a:p>
            <a:pPr marL="285750" indent="-285750">
              <a:buFont typeface="Arial" panose="020B0604020202020204" pitchFamily="34" charset="0"/>
              <a:buChar char="•"/>
            </a:pPr>
            <a:r>
              <a:rPr lang="en-US" sz="1600" dirty="0">
                <a:solidFill>
                  <a:schemeClr val="tx1"/>
                </a:solidFill>
                <a:latin typeface="Lora" pitchFamily="2" charset="0"/>
                <a:ea typeface="Inter" panose="02000503000000020004" pitchFamily="2" charset="0"/>
              </a:rPr>
              <a:t>Il </a:t>
            </a:r>
            <a:r>
              <a:rPr lang="en-US" sz="1600" dirty="0" err="1">
                <a:solidFill>
                  <a:schemeClr val="tx1"/>
                </a:solidFill>
                <a:latin typeface="Lora" pitchFamily="2" charset="0"/>
                <a:ea typeface="Inter" panose="02000503000000020004" pitchFamily="2" charset="0"/>
              </a:rPr>
              <a:t>disequilibrio</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corrisponde</a:t>
            </a:r>
            <a:r>
              <a:rPr lang="en-US" sz="1600" dirty="0">
                <a:solidFill>
                  <a:schemeClr val="tx1"/>
                </a:solidFill>
                <a:latin typeface="Lora" pitchFamily="2" charset="0"/>
                <a:ea typeface="Inter" panose="02000503000000020004" pitchFamily="2" charset="0"/>
              </a:rPr>
              <a:t> </a:t>
            </a:r>
            <a:r>
              <a:rPr lang="it-IT" sz="1600" dirty="0">
                <a:solidFill>
                  <a:schemeClr val="tx1"/>
                </a:solidFill>
                <a:latin typeface="Lora" pitchFamily="2" charset="0"/>
                <a:ea typeface="Inter" panose="02000503000000020004" pitchFamily="2" charset="0"/>
              </a:rPr>
              <a:t>alla distanza della distribuzione di probabilità di un sistema dalla sua distribuzione equiprobabile.</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Il test di efficienza sul mercato italiano, seppur è stato effettuato all’interno della tesi, non viene riportato per mancanza di significatività</a:t>
            </a:r>
            <a:endParaRPr lang="en-US" sz="1600" dirty="0">
              <a:solidFill>
                <a:schemeClr val="tx1"/>
              </a:solidFill>
              <a:latin typeface="Lora" pitchFamily="2" charset="0"/>
              <a:ea typeface="Inter" panose="02000503000000020004" pitchFamily="2" charset="0"/>
            </a:endParaRPr>
          </a:p>
        </p:txBody>
      </p:sp>
      <p:sp>
        <p:nvSpPr>
          <p:cNvPr id="24" name="Rectangle 23">
            <a:extLst>
              <a:ext uri="{FF2B5EF4-FFF2-40B4-BE49-F238E27FC236}">
                <a16:creationId xmlns:a16="http://schemas.microsoft.com/office/drawing/2014/main" id="{F239716C-519C-47D8-AE21-B3AF08703CEC}"/>
              </a:ext>
            </a:extLst>
          </p:cNvPr>
          <p:cNvSpPr/>
          <p:nvPr/>
        </p:nvSpPr>
        <p:spPr>
          <a:xfrm>
            <a:off x="954566" y="3851546"/>
            <a:ext cx="5811083" cy="941401"/>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it-IT" sz="1400" b="1" dirty="0">
                <a:solidFill>
                  <a:schemeClr val="tx1"/>
                </a:solidFill>
                <a:latin typeface="Lora" pitchFamily="2" charset="0"/>
              </a:rPr>
              <a:t>Grafico 6: </a:t>
            </a:r>
            <a:r>
              <a:rPr lang="it-IT" sz="1400" dirty="0">
                <a:solidFill>
                  <a:schemeClr val="tx1"/>
                </a:solidFill>
                <a:latin typeface="Lora" pitchFamily="2" charset="0"/>
              </a:rPr>
              <a:t>Rappresentazione intuitiva della misura «complessità»</a:t>
            </a:r>
          </a:p>
          <a:p>
            <a:r>
              <a:rPr lang="it-IT" sz="1400" b="1" dirty="0">
                <a:solidFill>
                  <a:schemeClr val="tx1"/>
                </a:solidFill>
                <a:latin typeface="Lora" pitchFamily="2" charset="0"/>
              </a:rPr>
              <a:t>Grafico 7: </a:t>
            </a:r>
            <a:r>
              <a:rPr lang="it-IT" sz="1400" dirty="0" err="1">
                <a:solidFill>
                  <a:schemeClr val="tx1"/>
                </a:solidFill>
                <a:latin typeface="Lora" pitchFamily="2" charset="0"/>
              </a:rPr>
              <a:t>Complexity-entropy</a:t>
            </a:r>
            <a:r>
              <a:rPr lang="it-IT" sz="1400" dirty="0">
                <a:solidFill>
                  <a:schemeClr val="tx1"/>
                </a:solidFill>
                <a:latin typeface="Lora" pitchFamily="2" charset="0"/>
              </a:rPr>
              <a:t> </a:t>
            </a:r>
            <a:r>
              <a:rPr lang="it-IT" sz="1400" dirty="0" err="1">
                <a:solidFill>
                  <a:schemeClr val="tx1"/>
                </a:solidFill>
                <a:latin typeface="Lora" pitchFamily="2" charset="0"/>
              </a:rPr>
              <a:t>binary</a:t>
            </a:r>
            <a:r>
              <a:rPr lang="it-IT" sz="1400" dirty="0">
                <a:solidFill>
                  <a:schemeClr val="tx1"/>
                </a:solidFill>
                <a:latin typeface="Lora" pitchFamily="2" charset="0"/>
              </a:rPr>
              <a:t> </a:t>
            </a:r>
            <a:r>
              <a:rPr lang="it-IT" sz="1400" dirty="0" err="1">
                <a:solidFill>
                  <a:schemeClr val="tx1"/>
                </a:solidFill>
                <a:latin typeface="Lora" pitchFamily="2" charset="0"/>
              </a:rPr>
              <a:t>causal</a:t>
            </a:r>
            <a:r>
              <a:rPr lang="it-IT" sz="1400" dirty="0">
                <a:solidFill>
                  <a:schemeClr val="tx1"/>
                </a:solidFill>
                <a:latin typeface="Lora" pitchFamily="2" charset="0"/>
              </a:rPr>
              <a:t> </a:t>
            </a:r>
            <a:r>
              <a:rPr lang="it-IT" sz="1400" dirty="0" err="1">
                <a:solidFill>
                  <a:schemeClr val="tx1"/>
                </a:solidFill>
                <a:latin typeface="Lora" pitchFamily="2" charset="0"/>
              </a:rPr>
              <a:t>plane</a:t>
            </a:r>
            <a:r>
              <a:rPr lang="it-IT" sz="1400" dirty="0">
                <a:solidFill>
                  <a:schemeClr val="tx1"/>
                </a:solidFill>
                <a:latin typeface="Lora" pitchFamily="2" charset="0"/>
              </a:rPr>
              <a:t> del mercato immobiliare rappresentante tutti gli stati americani (ogni punto rappresenta uno stato americano)</a:t>
            </a:r>
            <a:endParaRPr lang="en-US" sz="1400" dirty="0">
              <a:solidFill>
                <a:schemeClr val="tx1"/>
              </a:solidFill>
              <a:latin typeface="Lora" pitchFamily="2" charset="0"/>
            </a:endParaRPr>
          </a:p>
        </p:txBody>
      </p:sp>
      <p:sp>
        <p:nvSpPr>
          <p:cNvPr id="15" name="Rectangle: Rounded Corners 14">
            <a:extLst>
              <a:ext uri="{FF2B5EF4-FFF2-40B4-BE49-F238E27FC236}">
                <a16:creationId xmlns:a16="http://schemas.microsoft.com/office/drawing/2014/main" id="{F20D23D5-21DA-4859-ADA4-35577156113D}"/>
              </a:ext>
            </a:extLst>
          </p:cNvPr>
          <p:cNvSpPr/>
          <p:nvPr/>
        </p:nvSpPr>
        <p:spPr>
          <a:xfrm rot="1242122">
            <a:off x="1505864" y="2092172"/>
            <a:ext cx="882961" cy="160356"/>
          </a:xfrm>
          <a:prstGeom prst="roundRect">
            <a:avLst/>
          </a:prstGeom>
          <a:noFill/>
          <a:ln>
            <a:solidFill>
              <a:srgbClr val="002F5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28" name="Straight Connector 27">
            <a:extLst>
              <a:ext uri="{FF2B5EF4-FFF2-40B4-BE49-F238E27FC236}">
                <a16:creationId xmlns:a16="http://schemas.microsoft.com/office/drawing/2014/main" id="{BDCCDF3E-4024-4E61-9C6D-ECE4AD430625}"/>
              </a:ext>
            </a:extLst>
          </p:cNvPr>
          <p:cNvCxnSpPr>
            <a:cxnSpLocks/>
            <a:stCxn id="15" idx="0"/>
          </p:cNvCxnSpPr>
          <p:nvPr/>
        </p:nvCxnSpPr>
        <p:spPr>
          <a:xfrm>
            <a:off x="1975689" y="2097349"/>
            <a:ext cx="1747128" cy="0"/>
          </a:xfrm>
          <a:prstGeom prst="line">
            <a:avLst/>
          </a:prstGeom>
          <a:ln>
            <a:solidFill>
              <a:srgbClr val="002F56"/>
            </a:solidFill>
            <a:prstDash val="sys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F1E0C68E-A4A6-4D1E-8CB5-89C080D1E6F8}"/>
              </a:ext>
            </a:extLst>
          </p:cNvPr>
          <p:cNvSpPr/>
          <p:nvPr/>
        </p:nvSpPr>
        <p:spPr>
          <a:xfrm>
            <a:off x="3722817" y="1125975"/>
            <a:ext cx="3023421" cy="2092750"/>
          </a:xfrm>
          <a:prstGeom prst="rect">
            <a:avLst/>
          </a:prstGeom>
          <a:noFill/>
          <a:ln>
            <a:solidFill>
              <a:srgbClr val="002F5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3" name="Rectangle 32">
            <a:extLst>
              <a:ext uri="{FF2B5EF4-FFF2-40B4-BE49-F238E27FC236}">
                <a16:creationId xmlns:a16="http://schemas.microsoft.com/office/drawing/2014/main" id="{B6C210CF-C6ED-4D42-980B-928CB46F64E7}"/>
              </a:ext>
            </a:extLst>
          </p:cNvPr>
          <p:cNvSpPr/>
          <p:nvPr/>
        </p:nvSpPr>
        <p:spPr>
          <a:xfrm>
            <a:off x="818259" y="3099522"/>
            <a:ext cx="2712068" cy="674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00" b="1" dirty="0">
                <a:solidFill>
                  <a:schemeClr val="tx1"/>
                </a:solidFill>
                <a:latin typeface="Lora" pitchFamily="2" charset="0"/>
              </a:rPr>
              <a:t>Grafico 6</a:t>
            </a:r>
          </a:p>
        </p:txBody>
      </p:sp>
      <p:sp>
        <p:nvSpPr>
          <p:cNvPr id="34" name="Rectangle 33">
            <a:extLst>
              <a:ext uri="{FF2B5EF4-FFF2-40B4-BE49-F238E27FC236}">
                <a16:creationId xmlns:a16="http://schemas.microsoft.com/office/drawing/2014/main" id="{EE45E907-24A8-4352-A159-9953347A9A6F}"/>
              </a:ext>
            </a:extLst>
          </p:cNvPr>
          <p:cNvSpPr/>
          <p:nvPr/>
        </p:nvSpPr>
        <p:spPr>
          <a:xfrm>
            <a:off x="4053581" y="3099522"/>
            <a:ext cx="2712068" cy="674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00" b="1" dirty="0">
                <a:solidFill>
                  <a:schemeClr val="tx1"/>
                </a:solidFill>
                <a:latin typeface="Lora" pitchFamily="2" charset="0"/>
              </a:rPr>
              <a:t>Grafico 7</a:t>
            </a:r>
          </a:p>
        </p:txBody>
      </p:sp>
    </p:spTree>
    <p:extLst>
      <p:ext uri="{BB962C8B-B14F-4D97-AF65-F5344CB8AC3E}">
        <p14:creationId xmlns:p14="http://schemas.microsoft.com/office/powerpoint/2010/main" val="9060591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D3DB796D-D91C-4876-BF78-99E3B1A41985}" type="datetime1">
              <a:rPr lang="it-IT" sz="1000" smtClean="0">
                <a:latin typeface="Lora" pitchFamily="2" charset="0"/>
                <a:ea typeface="Inter" panose="02000503000000020004" pitchFamily="2" charset="0"/>
              </a:rPr>
              <a:t>15/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buFont typeface="Arial" panose="020B0604020202020204" pitchFamily="34" charset="0"/>
              <a:buChar char="•"/>
            </a:pPr>
            <a:r>
              <a:rPr lang="it-IT" sz="1600" dirty="0" err="1">
                <a:solidFill>
                  <a:schemeClr val="tx1"/>
                </a:solidFill>
                <a:latin typeface="Lora" pitchFamily="2" charset="0"/>
                <a:ea typeface="Inter" panose="02000503000000020004" pitchFamily="2" charset="0"/>
              </a:rPr>
              <a:t>Benveniste</a:t>
            </a:r>
            <a:r>
              <a:rPr lang="it-IT" sz="1600" dirty="0">
                <a:solidFill>
                  <a:schemeClr val="tx1"/>
                </a:solidFill>
                <a:latin typeface="Lora" pitchFamily="2" charset="0"/>
                <a:ea typeface="Inter" panose="02000503000000020004" pitchFamily="2" charset="0"/>
              </a:rPr>
              <a:t>, </a:t>
            </a:r>
            <a:r>
              <a:rPr lang="it-IT" sz="1600" dirty="0" err="1">
                <a:solidFill>
                  <a:schemeClr val="tx1"/>
                </a:solidFill>
                <a:latin typeface="Lora" pitchFamily="2" charset="0"/>
                <a:ea typeface="Inter" panose="02000503000000020004" pitchFamily="2" charset="0"/>
              </a:rPr>
              <a:t>Capozza</a:t>
            </a:r>
            <a:r>
              <a:rPr lang="it-IT" sz="1600" dirty="0">
                <a:solidFill>
                  <a:schemeClr val="tx1"/>
                </a:solidFill>
                <a:latin typeface="Lora" pitchFamily="2" charset="0"/>
                <a:ea typeface="Inter" panose="02000503000000020004" pitchFamily="2" charset="0"/>
              </a:rPr>
              <a:t>, e Seguin dimostrano che la cartolarizzazione di asset immobiliari è capace di aumentare il loro valore del 12-22% (US, 2001)</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L’area evidenziata rappresenta l’acquisto di benessere per l’intera collettività con l’aumento di valore per gli asset immobiliari</a:t>
            </a: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Quali sono i benefici nell’efficientare il mercato immobiliare e come avvicinarsi all’efficienza?</a:t>
            </a:r>
          </a:p>
        </p:txBody>
      </p:sp>
      <p:sp>
        <p:nvSpPr>
          <p:cNvPr id="62" name="Slide Number Placeholder 6">
            <a:extLst>
              <a:ext uri="{FF2B5EF4-FFF2-40B4-BE49-F238E27FC236}">
                <a16:creationId xmlns:a16="http://schemas.microsoft.com/office/drawing/2014/main" id="{A6236B6E-737A-413C-9541-EACACF499E5F}"/>
              </a:ext>
            </a:extLst>
          </p:cNvPr>
          <p:cNvSpPr>
            <a:spLocks noGrp="1"/>
          </p:cNvSpPr>
          <p:nvPr>
            <p:ph type="sldNum" sz="quarter" idx="12"/>
          </p:nvPr>
        </p:nvSpPr>
        <p:spPr>
          <a:xfrm>
            <a:off x="8610600" y="6356350"/>
            <a:ext cx="2743200" cy="365125"/>
          </a:xfrm>
        </p:spPr>
        <p:txBody>
          <a:bodyPr/>
          <a:lstStyle/>
          <a:p>
            <a:r>
              <a:rPr lang="it-IT" sz="1000" dirty="0">
                <a:latin typeface="Lora" pitchFamily="2" charset="0"/>
                <a:ea typeface="Inter" panose="02000503000000020004" pitchFamily="2" charset="0"/>
              </a:rPr>
              <a:t>6</a:t>
            </a:r>
          </a:p>
        </p:txBody>
      </p:sp>
      <p:grpSp>
        <p:nvGrpSpPr>
          <p:cNvPr id="3" name="Group 2">
            <a:extLst>
              <a:ext uri="{FF2B5EF4-FFF2-40B4-BE49-F238E27FC236}">
                <a16:creationId xmlns:a16="http://schemas.microsoft.com/office/drawing/2014/main" id="{49F48FDB-FD55-4DF8-995B-D692C4D8434E}"/>
              </a:ext>
            </a:extLst>
          </p:cNvPr>
          <p:cNvGrpSpPr/>
          <p:nvPr/>
        </p:nvGrpSpPr>
        <p:grpSpPr>
          <a:xfrm>
            <a:off x="7031463" y="1937902"/>
            <a:ext cx="4322337" cy="2606491"/>
            <a:chOff x="6887398" y="1777647"/>
            <a:chExt cx="4322337" cy="2606491"/>
          </a:xfrm>
        </p:grpSpPr>
        <p:cxnSp>
          <p:nvCxnSpPr>
            <p:cNvPr id="50" name="Straight Arrow Connector 49">
              <a:extLst>
                <a:ext uri="{FF2B5EF4-FFF2-40B4-BE49-F238E27FC236}">
                  <a16:creationId xmlns:a16="http://schemas.microsoft.com/office/drawing/2014/main" id="{C2AF65DC-E4C4-41DE-8C13-7AA72029A69D}"/>
                </a:ext>
              </a:extLst>
            </p:cNvPr>
            <p:cNvCxnSpPr/>
            <p:nvPr/>
          </p:nvCxnSpPr>
          <p:spPr>
            <a:xfrm flipV="1">
              <a:off x="8674436" y="1917634"/>
              <a:ext cx="0" cy="2140279"/>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51" name="Straight Arrow Connector 50">
              <a:extLst>
                <a:ext uri="{FF2B5EF4-FFF2-40B4-BE49-F238E27FC236}">
                  <a16:creationId xmlns:a16="http://schemas.microsoft.com/office/drawing/2014/main" id="{C3681CEC-DD94-4203-8C99-65328BED4206}"/>
                </a:ext>
              </a:extLst>
            </p:cNvPr>
            <p:cNvCxnSpPr/>
            <p:nvPr/>
          </p:nvCxnSpPr>
          <p:spPr>
            <a:xfrm>
              <a:off x="8674436" y="4057913"/>
              <a:ext cx="237931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6">
              <a:extLst>
                <a:ext uri="{FF2B5EF4-FFF2-40B4-BE49-F238E27FC236}">
                  <a16:creationId xmlns:a16="http://schemas.microsoft.com/office/drawing/2014/main" id="{AF579A5C-F133-4360-8C46-7A3403D7DE15}"/>
                </a:ext>
              </a:extLst>
            </p:cNvPr>
            <p:cNvSpPr txBox="1"/>
            <p:nvPr/>
          </p:nvSpPr>
          <p:spPr>
            <a:xfrm>
              <a:off x="8378439" y="1777647"/>
              <a:ext cx="210016" cy="280141"/>
            </a:xfrm>
            <a:prstGeom prst="rect">
              <a:avLst/>
            </a:prstGeom>
            <a:noFill/>
          </p:spPr>
          <p:txBody>
            <a:bodyPr wrap="square" rtlCol="0">
              <a:spAutoFit/>
            </a:bodyPr>
            <a:lstStyle/>
            <a:p>
              <a:pPr>
                <a:lnSpc>
                  <a:spcPct val="107000"/>
                </a:lnSpc>
                <a:spcAft>
                  <a:spcPts val="800"/>
                </a:spcAft>
              </a:pPr>
              <a:r>
                <a:rPr lang="it-IT" sz="1200" kern="1200" dirty="0">
                  <a:solidFill>
                    <a:srgbClr val="000000"/>
                  </a:solidFill>
                  <a:effectLst/>
                  <a:latin typeface="Lora" pitchFamily="2" charset="0"/>
                  <a:ea typeface="Calibri" panose="020F0502020204030204" pitchFamily="34" charset="0"/>
                  <a:cs typeface="Times New Roman" panose="02020603050405020304" pitchFamily="18" charset="0"/>
                </a:rPr>
                <a:t>P</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53" name="TextBox 7">
              <a:extLst>
                <a:ext uri="{FF2B5EF4-FFF2-40B4-BE49-F238E27FC236}">
                  <a16:creationId xmlns:a16="http://schemas.microsoft.com/office/drawing/2014/main" id="{1AAB1A1B-648D-4383-B31F-86B5853C571D}"/>
                </a:ext>
              </a:extLst>
            </p:cNvPr>
            <p:cNvSpPr txBox="1"/>
            <p:nvPr/>
          </p:nvSpPr>
          <p:spPr>
            <a:xfrm>
              <a:off x="10982739" y="4103997"/>
              <a:ext cx="226996" cy="280141"/>
            </a:xfrm>
            <a:prstGeom prst="rect">
              <a:avLst/>
            </a:prstGeom>
            <a:noFill/>
          </p:spPr>
          <p:txBody>
            <a:bodyPr wrap="square" rtlCol="0">
              <a:spAutoFit/>
            </a:bodyPr>
            <a:lstStyle/>
            <a:p>
              <a:pPr>
                <a:lnSpc>
                  <a:spcPct val="107000"/>
                </a:lnSpc>
                <a:spcAft>
                  <a:spcPts val="800"/>
                </a:spcAft>
              </a:pPr>
              <a:r>
                <a:rPr lang="it-IT" sz="1200" kern="1200">
                  <a:solidFill>
                    <a:srgbClr val="000000"/>
                  </a:solidFill>
                  <a:effectLst/>
                  <a:latin typeface="Lora" pitchFamily="2" charset="0"/>
                  <a:ea typeface="Calibri" panose="020F0502020204030204" pitchFamily="34" charset="0"/>
                  <a:cs typeface="Times New Roman" panose="02020603050405020304" pitchFamily="18" charset="0"/>
                </a:rPr>
                <a:t>Q</a:t>
              </a:r>
              <a:endParaRPr lang="it-IT" sz="1100">
                <a:effectLst/>
                <a:latin typeface="Lora" pitchFamily="2" charset="0"/>
                <a:ea typeface="Calibri" panose="020F0502020204030204" pitchFamily="34" charset="0"/>
                <a:cs typeface="Times New Roman" panose="02020603050405020304" pitchFamily="18" charset="0"/>
              </a:endParaRPr>
            </a:p>
          </p:txBody>
        </p:sp>
        <p:cxnSp>
          <p:nvCxnSpPr>
            <p:cNvPr id="54" name="Straight Connector 53">
              <a:extLst>
                <a:ext uri="{FF2B5EF4-FFF2-40B4-BE49-F238E27FC236}">
                  <a16:creationId xmlns:a16="http://schemas.microsoft.com/office/drawing/2014/main" id="{E6C7E9C4-B217-4745-BF3C-EFD8B15F2AF8}"/>
                </a:ext>
              </a:extLst>
            </p:cNvPr>
            <p:cNvCxnSpPr>
              <a:cxnSpLocks/>
            </p:cNvCxnSpPr>
            <p:nvPr/>
          </p:nvCxnSpPr>
          <p:spPr>
            <a:xfrm flipV="1">
              <a:off x="9113548" y="2443744"/>
              <a:ext cx="1452063" cy="161262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55" name="TextBox 6">
              <a:extLst>
                <a:ext uri="{FF2B5EF4-FFF2-40B4-BE49-F238E27FC236}">
                  <a16:creationId xmlns:a16="http://schemas.microsoft.com/office/drawing/2014/main" id="{9D223039-C341-44D8-9938-A52B390BEB05}"/>
                </a:ext>
              </a:extLst>
            </p:cNvPr>
            <p:cNvSpPr txBox="1"/>
            <p:nvPr/>
          </p:nvSpPr>
          <p:spPr>
            <a:xfrm>
              <a:off x="10281833" y="2235839"/>
              <a:ext cx="210016" cy="280141"/>
            </a:xfrm>
            <a:prstGeom prst="rect">
              <a:avLst/>
            </a:prstGeom>
            <a:noFill/>
          </p:spPr>
          <p:txBody>
            <a:bodyPr wrap="square" rtlCol="0">
              <a:spAutoFit/>
            </a:bodyPr>
            <a:lstStyle/>
            <a:p>
              <a:pPr>
                <a:lnSpc>
                  <a:spcPct val="107000"/>
                </a:lnSpc>
                <a:spcAft>
                  <a:spcPts val="800"/>
                </a:spcAft>
              </a:pPr>
              <a:r>
                <a:rPr lang="it-IT" sz="1200" kern="1200" dirty="0">
                  <a:solidFill>
                    <a:srgbClr val="000000"/>
                  </a:solidFill>
                  <a:effectLst/>
                  <a:latin typeface="Lora" pitchFamily="2" charset="0"/>
                  <a:ea typeface="Calibri" panose="020F0502020204030204" pitchFamily="34" charset="0"/>
                  <a:cs typeface="Times New Roman" panose="02020603050405020304" pitchFamily="18" charset="0"/>
                </a:rPr>
                <a:t>S</a:t>
              </a:r>
              <a:endParaRPr lang="it-IT" sz="1100" dirty="0">
                <a:effectLst/>
                <a:latin typeface="Lora" pitchFamily="2" charset="0"/>
                <a:ea typeface="Calibri" panose="020F0502020204030204" pitchFamily="34" charset="0"/>
                <a:cs typeface="Times New Roman" panose="02020603050405020304" pitchFamily="18" charset="0"/>
              </a:endParaRPr>
            </a:p>
          </p:txBody>
        </p:sp>
        <p:cxnSp>
          <p:nvCxnSpPr>
            <p:cNvPr id="56" name="Straight Connector 55">
              <a:extLst>
                <a:ext uri="{FF2B5EF4-FFF2-40B4-BE49-F238E27FC236}">
                  <a16:creationId xmlns:a16="http://schemas.microsoft.com/office/drawing/2014/main" id="{A8496FCB-33EF-4663-A003-663AF6084470}"/>
                </a:ext>
              </a:extLst>
            </p:cNvPr>
            <p:cNvCxnSpPr>
              <a:cxnSpLocks/>
            </p:cNvCxnSpPr>
            <p:nvPr/>
          </p:nvCxnSpPr>
          <p:spPr>
            <a:xfrm flipH="1" flipV="1">
              <a:off x="8674436" y="2062642"/>
              <a:ext cx="1806318" cy="154171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07CD3454-B7F9-437F-9697-2015C97CBD41}"/>
                </a:ext>
              </a:extLst>
            </p:cNvPr>
            <p:cNvCxnSpPr>
              <a:cxnSpLocks/>
            </p:cNvCxnSpPr>
            <p:nvPr/>
          </p:nvCxnSpPr>
          <p:spPr>
            <a:xfrm flipH="1" flipV="1">
              <a:off x="8674436" y="2470119"/>
              <a:ext cx="1806318" cy="154171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58" name="TextBox 6">
              <a:extLst>
                <a:ext uri="{FF2B5EF4-FFF2-40B4-BE49-F238E27FC236}">
                  <a16:creationId xmlns:a16="http://schemas.microsoft.com/office/drawing/2014/main" id="{91A80117-05C9-4D6F-9FDC-364288585590}"/>
                </a:ext>
              </a:extLst>
            </p:cNvPr>
            <p:cNvSpPr txBox="1"/>
            <p:nvPr/>
          </p:nvSpPr>
          <p:spPr>
            <a:xfrm>
              <a:off x="10440452" y="3735986"/>
              <a:ext cx="210016"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D</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59" name="TextBox 6">
              <a:extLst>
                <a:ext uri="{FF2B5EF4-FFF2-40B4-BE49-F238E27FC236}">
                  <a16:creationId xmlns:a16="http://schemas.microsoft.com/office/drawing/2014/main" id="{8FCE2B9B-785B-433F-A640-E9DEF6BCC5C4}"/>
                </a:ext>
              </a:extLst>
            </p:cNvPr>
            <p:cNvSpPr txBox="1"/>
            <p:nvPr/>
          </p:nvSpPr>
          <p:spPr>
            <a:xfrm>
              <a:off x="10440451" y="3411962"/>
              <a:ext cx="407512"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D’</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60" name="Freeform: Shape 59">
              <a:extLst>
                <a:ext uri="{FF2B5EF4-FFF2-40B4-BE49-F238E27FC236}">
                  <a16:creationId xmlns:a16="http://schemas.microsoft.com/office/drawing/2014/main" id="{766B76BF-464A-4132-BF97-1D0F8128674B}"/>
                </a:ext>
              </a:extLst>
            </p:cNvPr>
            <p:cNvSpPr/>
            <p:nvPr/>
          </p:nvSpPr>
          <p:spPr>
            <a:xfrm>
              <a:off x="8685532" y="2084304"/>
              <a:ext cx="1239520" cy="1270000"/>
            </a:xfrm>
            <a:custGeom>
              <a:avLst/>
              <a:gdLst>
                <a:gd name="connsiteX0" fmla="*/ 0 w 1239520"/>
                <a:gd name="connsiteY0" fmla="*/ 0 h 1270000"/>
                <a:gd name="connsiteX1" fmla="*/ 0 w 1239520"/>
                <a:gd name="connsiteY1" fmla="*/ 383540 h 1270000"/>
                <a:gd name="connsiteX2" fmla="*/ 2540 w 1239520"/>
                <a:gd name="connsiteY2" fmla="*/ 383540 h 1270000"/>
                <a:gd name="connsiteX3" fmla="*/ 1049020 w 1239520"/>
                <a:gd name="connsiteY3" fmla="*/ 1270000 h 1270000"/>
                <a:gd name="connsiteX4" fmla="*/ 1239520 w 1239520"/>
                <a:gd name="connsiteY4" fmla="*/ 1056640 h 1270000"/>
                <a:gd name="connsiteX5" fmla="*/ 0 w 1239520"/>
                <a:gd name="connsiteY5" fmla="*/ 0 h 12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9520" h="1270000">
                  <a:moveTo>
                    <a:pt x="0" y="0"/>
                  </a:moveTo>
                  <a:lnTo>
                    <a:pt x="0" y="383540"/>
                  </a:lnTo>
                  <a:lnTo>
                    <a:pt x="2540" y="383540"/>
                  </a:lnTo>
                  <a:lnTo>
                    <a:pt x="1049020" y="1270000"/>
                  </a:lnTo>
                  <a:lnTo>
                    <a:pt x="1239520" y="1056640"/>
                  </a:lnTo>
                  <a:lnTo>
                    <a:pt x="0" y="0"/>
                  </a:lnTo>
                  <a:close/>
                </a:path>
              </a:pathLst>
            </a:custGeom>
            <a:pattFill prst="wdUpDiag">
              <a:fgClr>
                <a:srgbClr val="002F5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Lora" pitchFamily="2" charset="0"/>
              </a:endParaRPr>
            </a:p>
          </p:txBody>
        </p:sp>
        <p:cxnSp>
          <p:nvCxnSpPr>
            <p:cNvPr id="82" name="Straight Arrow Connector 81">
              <a:extLst>
                <a:ext uri="{FF2B5EF4-FFF2-40B4-BE49-F238E27FC236}">
                  <a16:creationId xmlns:a16="http://schemas.microsoft.com/office/drawing/2014/main" id="{76601143-8F6C-437C-8CE0-9FA4FDF1B35C}"/>
                </a:ext>
              </a:extLst>
            </p:cNvPr>
            <p:cNvCxnSpPr>
              <a:cxnSpLocks/>
            </p:cNvCxnSpPr>
            <p:nvPr/>
          </p:nvCxnSpPr>
          <p:spPr>
            <a:xfrm flipV="1">
              <a:off x="10045326" y="3404339"/>
              <a:ext cx="175570" cy="178192"/>
            </a:xfrm>
            <a:prstGeom prst="straightConnector1">
              <a:avLst/>
            </a:prstGeom>
            <a:ln>
              <a:solidFill>
                <a:srgbClr val="002F56"/>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6">
              <a:extLst>
                <a:ext uri="{FF2B5EF4-FFF2-40B4-BE49-F238E27FC236}">
                  <a16:creationId xmlns:a16="http://schemas.microsoft.com/office/drawing/2014/main" id="{3B0BC3F0-AA48-427A-BD5C-6422DB5D55BC}"/>
                </a:ext>
              </a:extLst>
            </p:cNvPr>
            <p:cNvSpPr txBox="1"/>
            <p:nvPr/>
          </p:nvSpPr>
          <p:spPr>
            <a:xfrm>
              <a:off x="9841537" y="4042641"/>
              <a:ext cx="379359"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q’</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87" name="TextBox 6">
              <a:extLst>
                <a:ext uri="{FF2B5EF4-FFF2-40B4-BE49-F238E27FC236}">
                  <a16:creationId xmlns:a16="http://schemas.microsoft.com/office/drawing/2014/main" id="{6E1F7731-5F6C-47A5-A7C7-EC0E26710CDC}"/>
                </a:ext>
              </a:extLst>
            </p:cNvPr>
            <p:cNvSpPr txBox="1"/>
            <p:nvPr/>
          </p:nvSpPr>
          <p:spPr>
            <a:xfrm>
              <a:off x="6887398" y="2150415"/>
              <a:ext cx="3014468" cy="280141"/>
            </a:xfrm>
            <a:prstGeom prst="rect">
              <a:avLst/>
            </a:prstGeom>
            <a:noFill/>
          </p:spPr>
          <p:txBody>
            <a:bodyPr wrap="square" rtlCol="0">
              <a:spAutoFit/>
            </a:bodyPr>
            <a:lstStyle/>
            <a:p>
              <a:pPr>
                <a:lnSpc>
                  <a:spcPct val="107000"/>
                </a:lnSpc>
                <a:spcAft>
                  <a:spcPts val="800"/>
                </a:spcAft>
              </a:pPr>
              <a:r>
                <a:rPr lang="it-IT" sz="1200" b="1" kern="1200" dirty="0">
                  <a:solidFill>
                    <a:srgbClr val="000000"/>
                  </a:solidFill>
                  <a:effectLst/>
                  <a:latin typeface="Lora" pitchFamily="2" charset="0"/>
                  <a:ea typeface="Calibri" panose="020F0502020204030204" pitchFamily="34" charset="0"/>
                  <a:cs typeface="Times New Roman" panose="02020603050405020304" pitchFamily="18" charset="0"/>
                </a:rPr>
                <a:t>Lungo Termine</a:t>
              </a:r>
              <a:endParaRPr lang="it-IT" sz="1100" b="1" dirty="0">
                <a:effectLst/>
                <a:latin typeface="Lora" pitchFamily="2" charset="0"/>
                <a:ea typeface="Calibri" panose="020F0502020204030204" pitchFamily="34" charset="0"/>
                <a:cs typeface="Times New Roman" panose="02020603050405020304" pitchFamily="18" charset="0"/>
              </a:endParaRPr>
            </a:p>
          </p:txBody>
        </p:sp>
        <p:cxnSp>
          <p:nvCxnSpPr>
            <p:cNvPr id="1040" name="Straight Connector 1039">
              <a:extLst>
                <a:ext uri="{FF2B5EF4-FFF2-40B4-BE49-F238E27FC236}">
                  <a16:creationId xmlns:a16="http://schemas.microsoft.com/office/drawing/2014/main" id="{7972AA7C-2944-4848-B2F6-7E354703BFC2}"/>
                </a:ext>
              </a:extLst>
            </p:cNvPr>
            <p:cNvCxnSpPr>
              <a:stCxn id="60" idx="3"/>
            </p:cNvCxnSpPr>
            <p:nvPr/>
          </p:nvCxnSpPr>
          <p:spPr>
            <a:xfrm>
              <a:off x="9734552" y="3354304"/>
              <a:ext cx="820" cy="700628"/>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132A9B2F-BCEA-4EF5-9BB4-BBC382F9E251}"/>
                </a:ext>
              </a:extLst>
            </p:cNvPr>
            <p:cNvCxnSpPr>
              <a:cxnSpLocks/>
            </p:cNvCxnSpPr>
            <p:nvPr/>
          </p:nvCxnSpPr>
          <p:spPr>
            <a:xfrm>
              <a:off x="9933477" y="3163753"/>
              <a:ext cx="0" cy="899795"/>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044" name="Straight Connector 1043">
              <a:extLst>
                <a:ext uri="{FF2B5EF4-FFF2-40B4-BE49-F238E27FC236}">
                  <a16:creationId xmlns:a16="http://schemas.microsoft.com/office/drawing/2014/main" id="{6CB1BA42-A987-4E5C-BE42-0CC07F158753}"/>
                </a:ext>
              </a:extLst>
            </p:cNvPr>
            <p:cNvCxnSpPr>
              <a:stCxn id="60" idx="3"/>
            </p:cNvCxnSpPr>
            <p:nvPr/>
          </p:nvCxnSpPr>
          <p:spPr>
            <a:xfrm flipH="1">
              <a:off x="8685532" y="3354304"/>
              <a:ext cx="1049020" cy="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046" name="Straight Connector 1045">
              <a:extLst>
                <a:ext uri="{FF2B5EF4-FFF2-40B4-BE49-F238E27FC236}">
                  <a16:creationId xmlns:a16="http://schemas.microsoft.com/office/drawing/2014/main" id="{AACFA887-B692-4898-857F-54BAB6B26EC2}"/>
                </a:ext>
              </a:extLst>
            </p:cNvPr>
            <p:cNvCxnSpPr>
              <a:cxnSpLocks/>
            </p:cNvCxnSpPr>
            <p:nvPr/>
          </p:nvCxnSpPr>
          <p:spPr>
            <a:xfrm flipH="1" flipV="1">
              <a:off x="8679068" y="3150139"/>
              <a:ext cx="1229410" cy="1"/>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97" name="TextBox 6">
              <a:extLst>
                <a:ext uri="{FF2B5EF4-FFF2-40B4-BE49-F238E27FC236}">
                  <a16:creationId xmlns:a16="http://schemas.microsoft.com/office/drawing/2014/main" id="{37723689-7E76-49F5-8CC6-3471327406C0}"/>
                </a:ext>
              </a:extLst>
            </p:cNvPr>
            <p:cNvSpPr txBox="1"/>
            <p:nvPr/>
          </p:nvSpPr>
          <p:spPr>
            <a:xfrm>
              <a:off x="9559185" y="4042641"/>
              <a:ext cx="379359"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q</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102" name="TextBox 6">
              <a:extLst>
                <a:ext uri="{FF2B5EF4-FFF2-40B4-BE49-F238E27FC236}">
                  <a16:creationId xmlns:a16="http://schemas.microsoft.com/office/drawing/2014/main" id="{9B5AB659-EB40-43FE-BB73-B3A2BEE2E3CD}"/>
                </a:ext>
              </a:extLst>
            </p:cNvPr>
            <p:cNvSpPr txBox="1"/>
            <p:nvPr/>
          </p:nvSpPr>
          <p:spPr>
            <a:xfrm>
              <a:off x="8300625" y="2992879"/>
              <a:ext cx="379359" cy="280141"/>
            </a:xfrm>
            <a:prstGeom prst="rect">
              <a:avLst/>
            </a:prstGeom>
            <a:noFill/>
          </p:spPr>
          <p:txBody>
            <a:bodyPr wrap="square" rtlCol="0">
              <a:spAutoFit/>
            </a:bodyPr>
            <a:lstStyle/>
            <a:p>
              <a:pPr>
                <a:lnSpc>
                  <a:spcPct val="107000"/>
                </a:lnSpc>
                <a:spcAft>
                  <a:spcPts val="800"/>
                </a:spcAft>
              </a:pPr>
              <a:r>
                <a:rPr lang="it-IT" sz="1200" kern="1200" dirty="0">
                  <a:solidFill>
                    <a:srgbClr val="000000"/>
                  </a:solidFill>
                  <a:effectLst/>
                  <a:latin typeface="Lora" pitchFamily="2" charset="0"/>
                  <a:ea typeface="Calibri" panose="020F0502020204030204" pitchFamily="34" charset="0"/>
                  <a:cs typeface="Times New Roman" panose="02020603050405020304" pitchFamily="18" charset="0"/>
                </a:rPr>
                <a:t>p’</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103" name="TextBox 6">
              <a:extLst>
                <a:ext uri="{FF2B5EF4-FFF2-40B4-BE49-F238E27FC236}">
                  <a16:creationId xmlns:a16="http://schemas.microsoft.com/office/drawing/2014/main" id="{7D8B06CB-0D4C-4AAA-BB12-94276D50B81B}"/>
                </a:ext>
              </a:extLst>
            </p:cNvPr>
            <p:cNvSpPr txBox="1"/>
            <p:nvPr/>
          </p:nvSpPr>
          <p:spPr>
            <a:xfrm>
              <a:off x="8293096" y="3195419"/>
              <a:ext cx="379359"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p</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104" name="Left Brace 103">
              <a:extLst>
                <a:ext uri="{FF2B5EF4-FFF2-40B4-BE49-F238E27FC236}">
                  <a16:creationId xmlns:a16="http://schemas.microsoft.com/office/drawing/2014/main" id="{9FDF9F19-CCD7-43B1-A0F5-24DCAD25A924}"/>
                </a:ext>
              </a:extLst>
            </p:cNvPr>
            <p:cNvSpPr/>
            <p:nvPr/>
          </p:nvSpPr>
          <p:spPr>
            <a:xfrm>
              <a:off x="8125596" y="3083017"/>
              <a:ext cx="199062" cy="392543"/>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latin typeface="Lora" pitchFamily="2" charset="0"/>
              </a:endParaRPr>
            </a:p>
          </p:txBody>
        </p:sp>
        <mc:AlternateContent xmlns:mc="http://schemas.openxmlformats.org/markup-compatibility/2006" xmlns:a14="http://schemas.microsoft.com/office/drawing/2010/main">
          <mc:Choice Requires="a14">
            <p:sp>
              <p:nvSpPr>
                <p:cNvPr id="105" name="TextBox 8">
                  <a:extLst>
                    <a:ext uri="{FF2B5EF4-FFF2-40B4-BE49-F238E27FC236}">
                      <a16:creationId xmlns:a16="http://schemas.microsoft.com/office/drawing/2014/main" id="{FF059E67-0AD3-4BD8-87C9-028E3DC6C4F6}"/>
                    </a:ext>
                  </a:extLst>
                </p:cNvPr>
                <p:cNvSpPr txBox="1"/>
                <p:nvPr/>
              </p:nvSpPr>
              <p:spPr>
                <a:xfrm>
                  <a:off x="7253471" y="3132949"/>
                  <a:ext cx="999756" cy="392543"/>
                </a:xfrm>
                <a:prstGeom prst="rect">
                  <a:avLst/>
                </a:prstGeom>
                <a:noFill/>
              </p:spPr>
              <p:txBody>
                <a:bodyPr wrap="square" rtlCol="0">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r>
                          <a:rPr lang="it-IT" sz="1200" b="0" i="1" kern="1200" smtClean="0">
                            <a:solidFill>
                              <a:srgbClr val="000000"/>
                            </a:solidFill>
                            <a:effectLst/>
                            <a:latin typeface="Cambria Math" panose="02040503050406030204" pitchFamily="18" charset="0"/>
                            <a:ea typeface="Times New Roman" panose="02020603050405020304" pitchFamily="18" charset="0"/>
                            <a:cs typeface="Times New Roman" panose="02020603050405020304" pitchFamily="18" charset="0"/>
                          </a:rPr>
                          <m:t>12−22%</m:t>
                        </m:r>
                      </m:oMath>
                    </m:oMathPara>
                  </a14:m>
                  <a:endParaRPr lang="it-IT" sz="1100" dirty="0">
                    <a:effectLst/>
                    <a:latin typeface="Lora" pitchFamily="2" charset="0"/>
                    <a:ea typeface="Calibri" panose="020F0502020204030204" pitchFamily="34" charset="0"/>
                    <a:cs typeface="Times New Roman" panose="02020603050405020304" pitchFamily="18" charset="0"/>
                  </a:endParaRPr>
                </a:p>
              </p:txBody>
            </p:sp>
          </mc:Choice>
          <mc:Fallback xmlns="">
            <p:sp>
              <p:nvSpPr>
                <p:cNvPr id="105" name="TextBox 8">
                  <a:extLst>
                    <a:ext uri="{FF2B5EF4-FFF2-40B4-BE49-F238E27FC236}">
                      <a16:creationId xmlns:a16="http://schemas.microsoft.com/office/drawing/2014/main" id="{FF059E67-0AD3-4BD8-87C9-028E3DC6C4F6}"/>
                    </a:ext>
                  </a:extLst>
                </p:cNvPr>
                <p:cNvSpPr txBox="1">
                  <a:spLocks noRot="1" noChangeAspect="1" noMove="1" noResize="1" noEditPoints="1" noAdjustHandles="1" noChangeArrowheads="1" noChangeShapeType="1" noTextEdit="1"/>
                </p:cNvSpPr>
                <p:nvPr/>
              </p:nvSpPr>
              <p:spPr>
                <a:xfrm>
                  <a:off x="7253471" y="3132949"/>
                  <a:ext cx="999756" cy="392543"/>
                </a:xfrm>
                <a:prstGeom prst="rect">
                  <a:avLst/>
                </a:prstGeom>
                <a:blipFill>
                  <a:blip r:embed="rId6"/>
                  <a:stretch>
                    <a:fillRect/>
                  </a:stretch>
                </a:blipFill>
              </p:spPr>
              <p:txBody>
                <a:bodyPr/>
                <a:lstStyle/>
                <a:p>
                  <a:r>
                    <a:rPr lang="it-IT">
                      <a:noFill/>
                    </a:rPr>
                    <a:t> </a:t>
                  </a:r>
                </a:p>
              </p:txBody>
            </p:sp>
          </mc:Fallback>
        </mc:AlternateContent>
      </p:grpSp>
    </p:spTree>
    <p:extLst>
      <p:ext uri="{BB962C8B-B14F-4D97-AF65-F5344CB8AC3E}">
        <p14:creationId xmlns:p14="http://schemas.microsoft.com/office/powerpoint/2010/main" val="12858732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5B29F95E-1FE0-4409-857D-1D7374344CED}" type="datetime1">
              <a:rPr lang="it-IT" sz="1000" smtClean="0">
                <a:latin typeface="Lora" pitchFamily="2" charset="0"/>
                <a:ea typeface="Inter" panose="02000503000000020004" pitchFamily="2" charset="0"/>
              </a:rPr>
              <a:t>15/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7</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it-IT" sz="1600" dirty="0">
              <a:solidFill>
                <a:schemeClr val="tx1"/>
              </a:solidFill>
              <a:latin typeface="Lora" pitchFamily="2" charset="0"/>
              <a:ea typeface="Inter" panose="02000503000000020004" pitchFamily="2" charset="0"/>
            </a:endParaRPr>
          </a:p>
        </p:txBody>
      </p:sp>
      <p:sp>
        <p:nvSpPr>
          <p:cNvPr id="16" name="Rectangle 15">
            <a:extLst>
              <a:ext uri="{FF2B5EF4-FFF2-40B4-BE49-F238E27FC236}">
                <a16:creationId xmlns:a16="http://schemas.microsoft.com/office/drawing/2014/main" id="{6A1D0711-6C04-41FE-8C4D-618851F6D4CD}"/>
              </a:ext>
            </a:extLst>
          </p:cNvPr>
          <p:cNvSpPr/>
          <p:nvPr/>
        </p:nvSpPr>
        <p:spPr>
          <a:xfrm>
            <a:off x="6111711" y="537328"/>
            <a:ext cx="5030771" cy="5062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marL="457200" indent="-457200">
              <a:buFont typeface="+mj-lt"/>
              <a:buAutoNum type="arabicParenR"/>
            </a:pPr>
            <a:endParaRPr lang="it-IT" sz="1600" dirty="0">
              <a:solidFill>
                <a:schemeClr val="tx1"/>
              </a:solidFill>
              <a:latin typeface="Lora" pitchFamily="2" charset="0"/>
              <a:ea typeface="Inter" panose="02000503000000020004" pitchFamily="2" charset="0"/>
            </a:endParaRPr>
          </a:p>
        </p:txBody>
      </p:sp>
      <p:sp>
        <p:nvSpPr>
          <p:cNvPr id="2" name="Rectangle 1">
            <a:extLst>
              <a:ext uri="{FF2B5EF4-FFF2-40B4-BE49-F238E27FC236}">
                <a16:creationId xmlns:a16="http://schemas.microsoft.com/office/drawing/2014/main" id="{C5E8BAFC-CF07-471F-BA02-4BA18594B316}"/>
              </a:ext>
            </a:extLst>
          </p:cNvPr>
          <p:cNvSpPr/>
          <p:nvPr/>
        </p:nvSpPr>
        <p:spPr>
          <a:xfrm>
            <a:off x="-1" y="4020"/>
            <a:ext cx="6672943"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sz="1800" dirty="0">
                <a:solidFill>
                  <a:schemeClr val="tx1"/>
                </a:solidFill>
                <a:latin typeface="Lora" pitchFamily="2" charset="0"/>
                <a:ea typeface="Inter" panose="02000503000000020004" pitchFamily="2" charset="0"/>
              </a:rPr>
              <a:t>Perché la </a:t>
            </a:r>
            <a:r>
              <a:rPr lang="it-IT" sz="1800" dirty="0" err="1">
                <a:solidFill>
                  <a:schemeClr val="tx1"/>
                </a:solidFill>
                <a:latin typeface="Lora" pitchFamily="2" charset="0"/>
                <a:ea typeface="Inter" panose="02000503000000020004" pitchFamily="2" charset="0"/>
              </a:rPr>
              <a:t>frazionalizzazione</a:t>
            </a:r>
            <a:r>
              <a:rPr lang="it-IT" sz="1800" dirty="0">
                <a:solidFill>
                  <a:schemeClr val="tx1"/>
                </a:solidFill>
                <a:latin typeface="Lora" pitchFamily="2" charset="0"/>
                <a:ea typeface="Inter" panose="02000503000000020004" pitchFamily="2" charset="0"/>
              </a:rPr>
              <a:t>?</a:t>
            </a:r>
            <a:endParaRPr lang="it-IT" dirty="0">
              <a:solidFill>
                <a:schemeClr val="tx1"/>
              </a:solidFill>
              <a:latin typeface="Lora" pitchFamily="2" charset="0"/>
            </a:endParaRPr>
          </a:p>
        </p:txBody>
      </p:sp>
      <p:graphicFrame>
        <p:nvGraphicFramePr>
          <p:cNvPr id="3" name="Table 2">
            <a:extLst>
              <a:ext uri="{FF2B5EF4-FFF2-40B4-BE49-F238E27FC236}">
                <a16:creationId xmlns:a16="http://schemas.microsoft.com/office/drawing/2014/main" id="{24238FFF-A6B8-4FAA-AB04-31D013A3B1D0}"/>
              </a:ext>
            </a:extLst>
          </p:cNvPr>
          <p:cNvGraphicFramePr>
            <a:graphicFrameLocks noGrp="1"/>
          </p:cNvGraphicFramePr>
          <p:nvPr>
            <p:extLst>
              <p:ext uri="{D42A27DB-BD31-4B8C-83A1-F6EECF244321}">
                <p14:modId xmlns:p14="http://schemas.microsoft.com/office/powerpoint/2010/main" val="3046214933"/>
              </p:ext>
            </p:extLst>
          </p:nvPr>
        </p:nvGraphicFramePr>
        <p:xfrm>
          <a:off x="724755" y="972555"/>
          <a:ext cx="10742490" cy="5402192"/>
        </p:xfrm>
        <a:graphic>
          <a:graphicData uri="http://schemas.openxmlformats.org/drawingml/2006/table">
            <a:tbl>
              <a:tblPr firstRow="1" firstCol="1" bandRow="1">
                <a:tableStyleId>{5C22544A-7EE6-4342-B048-85BDC9FD1C3A}</a:tableStyleId>
              </a:tblPr>
              <a:tblGrid>
                <a:gridCol w="724285">
                  <a:extLst>
                    <a:ext uri="{9D8B030D-6E8A-4147-A177-3AD203B41FA5}">
                      <a16:colId xmlns:a16="http://schemas.microsoft.com/office/drawing/2014/main" val="529377522"/>
                    </a:ext>
                  </a:extLst>
                </a:gridCol>
                <a:gridCol w="5013824">
                  <a:extLst>
                    <a:ext uri="{9D8B030D-6E8A-4147-A177-3AD203B41FA5}">
                      <a16:colId xmlns:a16="http://schemas.microsoft.com/office/drawing/2014/main" val="2261912712"/>
                    </a:ext>
                  </a:extLst>
                </a:gridCol>
                <a:gridCol w="5004381">
                  <a:extLst>
                    <a:ext uri="{9D8B030D-6E8A-4147-A177-3AD203B41FA5}">
                      <a16:colId xmlns:a16="http://schemas.microsoft.com/office/drawing/2014/main" val="912408906"/>
                    </a:ext>
                  </a:extLst>
                </a:gridCol>
              </a:tblGrid>
              <a:tr h="372992">
                <a:tc rowSpan="7">
                  <a:txBody>
                    <a:bodyPr/>
                    <a:lstStyle/>
                    <a:p>
                      <a:pPr algn="ctr">
                        <a:lnSpc>
                          <a:spcPct val="150000"/>
                        </a:lnSpc>
                        <a:spcAft>
                          <a:spcPts val="800"/>
                        </a:spcAft>
                      </a:pPr>
                      <a:r>
                        <a:rPr lang="en-US" sz="1200" dirty="0">
                          <a:effectLst/>
                          <a:latin typeface="Lora" pitchFamily="2" charset="0"/>
                        </a:rPr>
                        <a:t>PROS</a:t>
                      </a:r>
                      <a:endParaRPr lang="it-IT" sz="1200" dirty="0">
                        <a:effectLst/>
                        <a:latin typeface="Lora" pitchFamily="2" charset="0"/>
                        <a:ea typeface="Calibri" panose="020F0502020204030204" pitchFamily="34" charset="0"/>
                        <a:cs typeface="Times New Roman" panose="02020603050405020304" pitchFamily="18" charset="0"/>
                      </a:endParaRPr>
                    </a:p>
                  </a:txBody>
                  <a:tcPr marL="28506" marR="28506" marT="0" marB="0" anchor="ctr">
                    <a:solidFill>
                      <a:srgbClr val="002F56"/>
                    </a:solidFill>
                  </a:tcPr>
                </a:tc>
                <a:tc>
                  <a:txBody>
                    <a:bodyPr/>
                    <a:lstStyle/>
                    <a:p>
                      <a:pPr algn="ctr">
                        <a:lnSpc>
                          <a:spcPct val="150000"/>
                        </a:lnSpc>
                        <a:spcAft>
                          <a:spcPts val="800"/>
                        </a:spcAft>
                      </a:pPr>
                      <a:r>
                        <a:rPr lang="en-US" sz="1400" dirty="0" err="1">
                          <a:effectLst/>
                          <a:latin typeface="Lora" pitchFamily="2" charset="0"/>
                        </a:rPr>
                        <a:t>Investitori</a:t>
                      </a:r>
                      <a:endParaRPr lang="it-IT" sz="14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rgbClr val="002F56"/>
                    </a:solidFill>
                  </a:tcPr>
                </a:tc>
                <a:tc>
                  <a:txBody>
                    <a:bodyPr/>
                    <a:lstStyle/>
                    <a:p>
                      <a:pPr algn="ctr">
                        <a:lnSpc>
                          <a:spcPct val="150000"/>
                        </a:lnSpc>
                        <a:spcAft>
                          <a:spcPts val="800"/>
                        </a:spcAft>
                      </a:pPr>
                      <a:r>
                        <a:rPr lang="en-US" sz="1400" dirty="0">
                          <a:effectLst/>
                          <a:latin typeface="Lora" pitchFamily="2" charset="0"/>
                        </a:rPr>
                        <a:t>Asset Manager</a:t>
                      </a:r>
                      <a:endParaRPr lang="it-IT" sz="14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rgbClr val="002F56"/>
                    </a:solidFill>
                  </a:tcPr>
                </a:tc>
                <a:extLst>
                  <a:ext uri="{0D108BD9-81ED-4DB2-BD59-A6C34878D82A}">
                    <a16:rowId xmlns:a16="http://schemas.microsoft.com/office/drawing/2014/main" val="2073012435"/>
                  </a:ext>
                </a:extLst>
              </a:tr>
              <a:tr h="398572">
                <a:tc vMerge="1">
                  <a:txBody>
                    <a:bodyPr/>
                    <a:lstStyle/>
                    <a:p>
                      <a:endParaRPr lang="it-IT"/>
                    </a:p>
                  </a:txBody>
                  <a:tcPr/>
                </a:tc>
                <a:tc>
                  <a:txBody>
                    <a:bodyPr/>
                    <a:lstStyle/>
                    <a:p>
                      <a:pPr algn="ctr">
                        <a:lnSpc>
                          <a:spcPct val="100000"/>
                        </a:lnSpc>
                        <a:spcAft>
                          <a:spcPts val="800"/>
                        </a:spcAft>
                      </a:pPr>
                      <a:r>
                        <a:rPr lang="it-IT" sz="1000" b="1" dirty="0" err="1">
                          <a:effectLst/>
                          <a:latin typeface="Lora" pitchFamily="2" charset="0"/>
                        </a:rPr>
                        <a:t>Frazionalizzazione</a:t>
                      </a:r>
                      <a:endParaRPr lang="it-IT" sz="1000" b="1" dirty="0">
                        <a:effectLst/>
                        <a:latin typeface="Lora" pitchFamily="2" charset="0"/>
                      </a:endParaRPr>
                    </a:p>
                    <a:p>
                      <a:pPr algn="just">
                        <a:lnSpc>
                          <a:spcPct val="100000"/>
                        </a:lnSpc>
                        <a:spcAft>
                          <a:spcPts val="800"/>
                        </a:spcAft>
                      </a:pPr>
                      <a:r>
                        <a:rPr lang="it-IT" sz="1000" dirty="0">
                          <a:effectLst/>
                          <a:latin typeface="Lora" pitchFamily="2" charset="0"/>
                        </a:rPr>
                        <a:t>La </a:t>
                      </a:r>
                      <a:r>
                        <a:rPr lang="it-IT" sz="1000" dirty="0" err="1">
                          <a:effectLst/>
                          <a:latin typeface="Lora" pitchFamily="2" charset="0"/>
                        </a:rPr>
                        <a:t>frazionalizzazione</a:t>
                      </a:r>
                      <a:r>
                        <a:rPr lang="it-IT" sz="1000" dirty="0">
                          <a:effectLst/>
                          <a:latin typeface="Lora" pitchFamily="2" charset="0"/>
                        </a:rPr>
                        <a:t> permette una totale personalizzazione nell’acquisizione di un portafoglio</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tc>
                  <a:txBody>
                    <a:bodyPr/>
                    <a:lstStyle/>
                    <a:p>
                      <a:pPr algn="ctr">
                        <a:lnSpc>
                          <a:spcPct val="100000"/>
                        </a:lnSpc>
                        <a:spcAft>
                          <a:spcPts val="800"/>
                        </a:spcAft>
                      </a:pPr>
                      <a:r>
                        <a:rPr lang="it-IT" sz="1000" b="1" dirty="0" err="1">
                          <a:effectLst/>
                          <a:latin typeface="Lora" pitchFamily="2" charset="0"/>
                        </a:rPr>
                        <a:t>Frazionalizzazione</a:t>
                      </a:r>
                      <a:endParaRPr lang="it-IT" sz="1000" b="1" dirty="0">
                        <a:effectLst/>
                        <a:latin typeface="Lora" pitchFamily="2" charset="0"/>
                      </a:endParaRPr>
                    </a:p>
                    <a:p>
                      <a:pPr algn="just">
                        <a:lnSpc>
                          <a:spcPct val="100000"/>
                        </a:lnSpc>
                        <a:spcAft>
                          <a:spcPts val="800"/>
                        </a:spcAft>
                      </a:pPr>
                      <a:r>
                        <a:rPr lang="it-IT" sz="1000" dirty="0">
                          <a:effectLst/>
                          <a:latin typeface="Lora" pitchFamily="2" charset="0"/>
                        </a:rPr>
                        <a:t>La </a:t>
                      </a:r>
                      <a:r>
                        <a:rPr lang="it-IT" sz="1000" dirty="0" err="1">
                          <a:effectLst/>
                          <a:latin typeface="Lora" pitchFamily="2" charset="0"/>
                        </a:rPr>
                        <a:t>frazionalizzazione</a:t>
                      </a:r>
                      <a:r>
                        <a:rPr lang="it-IT" sz="1000" dirty="0">
                          <a:effectLst/>
                          <a:latin typeface="Lora" pitchFamily="2" charset="0"/>
                        </a:rPr>
                        <a:t> permette una totale personalizzazione nella creazione di un portafoglio</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extLst>
                  <a:ext uri="{0D108BD9-81ED-4DB2-BD59-A6C34878D82A}">
                    <a16:rowId xmlns:a16="http://schemas.microsoft.com/office/drawing/2014/main" val="3064805690"/>
                  </a:ext>
                </a:extLst>
              </a:tr>
              <a:tr h="398572">
                <a:tc vMerge="1">
                  <a:txBody>
                    <a:bodyPr/>
                    <a:lstStyle/>
                    <a:p>
                      <a:endParaRPr lang="it-IT"/>
                    </a:p>
                  </a:txBody>
                  <a:tcPr/>
                </a:tc>
                <a:tc>
                  <a:txBody>
                    <a:bodyPr/>
                    <a:lstStyle/>
                    <a:p>
                      <a:pPr algn="ctr">
                        <a:lnSpc>
                          <a:spcPct val="100000"/>
                        </a:lnSpc>
                        <a:spcAft>
                          <a:spcPts val="800"/>
                        </a:spcAft>
                      </a:pPr>
                      <a:r>
                        <a:rPr lang="it-IT" sz="1000" b="1" dirty="0">
                          <a:effectLst/>
                          <a:latin typeface="Lora" pitchFamily="2" charset="0"/>
                        </a:rPr>
                        <a:t>Accessibilità</a:t>
                      </a:r>
                    </a:p>
                    <a:p>
                      <a:pPr algn="just">
                        <a:lnSpc>
                          <a:spcPct val="100000"/>
                        </a:lnSpc>
                        <a:spcAft>
                          <a:spcPts val="800"/>
                        </a:spcAft>
                      </a:pPr>
                      <a:r>
                        <a:rPr lang="it-IT" sz="1000" dirty="0">
                          <a:effectLst/>
                          <a:latin typeface="Lora" pitchFamily="2" charset="0"/>
                        </a:rPr>
                        <a:t>Possibilità di investire in qualunque immobile, senza restrizioni di taglia, rendendo così accessibile l’investimento immobiliare al grande pubblico</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tc>
                  <a:txBody>
                    <a:bodyPr/>
                    <a:lstStyle/>
                    <a:p>
                      <a:pPr algn="ctr">
                        <a:lnSpc>
                          <a:spcPct val="100000"/>
                        </a:lnSpc>
                        <a:spcAft>
                          <a:spcPts val="800"/>
                        </a:spcAft>
                      </a:pPr>
                      <a:r>
                        <a:rPr lang="it-IT" sz="1000" b="1" dirty="0">
                          <a:effectLst/>
                          <a:latin typeface="Lora" pitchFamily="2" charset="0"/>
                        </a:rPr>
                        <a:t>Rischio/Rendimento</a:t>
                      </a:r>
                    </a:p>
                    <a:p>
                      <a:pPr algn="just">
                        <a:lnSpc>
                          <a:spcPct val="100000"/>
                        </a:lnSpc>
                        <a:spcAft>
                          <a:spcPts val="800"/>
                        </a:spcAft>
                      </a:pPr>
                      <a:r>
                        <a:rPr lang="it-IT" sz="1000" dirty="0">
                          <a:effectLst/>
                          <a:latin typeface="Lora" pitchFamily="2" charset="0"/>
                        </a:rPr>
                        <a:t>Miglioramento del rischio/rendimento dei portafogli grazie al cherry picking degli immobili, in contrasto con l’attuale (e inevitabile) bulk </a:t>
                      </a:r>
                      <a:r>
                        <a:rPr lang="it-IT" sz="1000" dirty="0" err="1">
                          <a:effectLst/>
                          <a:latin typeface="Lora" pitchFamily="2" charset="0"/>
                        </a:rPr>
                        <a:t>buy</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extLst>
                  <a:ext uri="{0D108BD9-81ED-4DB2-BD59-A6C34878D82A}">
                    <a16:rowId xmlns:a16="http://schemas.microsoft.com/office/drawing/2014/main" val="265310892"/>
                  </a:ext>
                </a:extLst>
              </a:tr>
              <a:tr h="398572">
                <a:tc vMerge="1">
                  <a:txBody>
                    <a:bodyPr/>
                    <a:lstStyle/>
                    <a:p>
                      <a:endParaRPr lang="it-IT"/>
                    </a:p>
                  </a:txBody>
                  <a:tcPr/>
                </a:tc>
                <a:tc>
                  <a:txBody>
                    <a:bodyPr/>
                    <a:lstStyle/>
                    <a:p>
                      <a:pPr algn="ctr">
                        <a:lnSpc>
                          <a:spcPct val="100000"/>
                        </a:lnSpc>
                        <a:spcAft>
                          <a:spcPts val="800"/>
                        </a:spcAft>
                      </a:pPr>
                      <a:r>
                        <a:rPr lang="it-IT" sz="1000" b="1" dirty="0">
                          <a:effectLst/>
                          <a:latin typeface="Lora" pitchFamily="2" charset="0"/>
                        </a:rPr>
                        <a:t>Efficienza transazionale</a:t>
                      </a:r>
                    </a:p>
                    <a:p>
                      <a:pPr algn="just">
                        <a:lnSpc>
                          <a:spcPct val="100000"/>
                        </a:lnSpc>
                        <a:spcAft>
                          <a:spcPts val="800"/>
                        </a:spcAft>
                      </a:pPr>
                      <a:r>
                        <a:rPr lang="it-IT" sz="1000" dirty="0">
                          <a:effectLst/>
                          <a:latin typeface="Lora" pitchFamily="2" charset="0"/>
                        </a:rPr>
                        <a:t>Un processo di transazione rapido ed efficiente</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tc>
                  <a:txBody>
                    <a:bodyPr/>
                    <a:lstStyle/>
                    <a:p>
                      <a:pPr algn="ctr">
                        <a:lnSpc>
                          <a:spcPct val="100000"/>
                        </a:lnSpc>
                        <a:spcAft>
                          <a:spcPts val="800"/>
                        </a:spcAft>
                      </a:pPr>
                      <a:r>
                        <a:rPr lang="it-IT" sz="1000" b="1" dirty="0">
                          <a:effectLst/>
                          <a:latin typeface="Lora" pitchFamily="2" charset="0"/>
                        </a:rPr>
                        <a:t>Trasparenza</a:t>
                      </a:r>
                    </a:p>
                    <a:p>
                      <a:pPr algn="just">
                        <a:lnSpc>
                          <a:spcPct val="100000"/>
                        </a:lnSpc>
                        <a:spcAft>
                          <a:spcPts val="800"/>
                        </a:spcAft>
                      </a:pPr>
                      <a:r>
                        <a:rPr lang="it-IT" sz="1000" dirty="0">
                          <a:effectLst/>
                          <a:latin typeface="Lora" pitchFamily="2" charset="0"/>
                        </a:rPr>
                        <a:t>Valutazione dell’immobile in base a prezzi formati secondo processi transazionali e non logiche valutative</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extLst>
                  <a:ext uri="{0D108BD9-81ED-4DB2-BD59-A6C34878D82A}">
                    <a16:rowId xmlns:a16="http://schemas.microsoft.com/office/drawing/2014/main" val="1082050074"/>
                  </a:ext>
                </a:extLst>
              </a:tr>
              <a:tr h="286473">
                <a:tc vMerge="1">
                  <a:txBody>
                    <a:bodyPr/>
                    <a:lstStyle/>
                    <a:p>
                      <a:endParaRPr lang="it-IT"/>
                    </a:p>
                  </a:txBody>
                  <a:tcPr/>
                </a:tc>
                <a:tc>
                  <a:txBody>
                    <a:bodyPr/>
                    <a:lstStyle/>
                    <a:p>
                      <a:pPr algn="ctr">
                        <a:lnSpc>
                          <a:spcPct val="100000"/>
                        </a:lnSpc>
                        <a:spcAft>
                          <a:spcPts val="800"/>
                        </a:spcAft>
                      </a:pPr>
                      <a:r>
                        <a:rPr lang="it-IT" sz="1000" b="1" dirty="0">
                          <a:effectLst/>
                          <a:latin typeface="Lora" pitchFamily="2" charset="0"/>
                        </a:rPr>
                        <a:t>Liquidità</a:t>
                      </a:r>
                    </a:p>
                    <a:p>
                      <a:pPr algn="just">
                        <a:lnSpc>
                          <a:spcPct val="100000"/>
                        </a:lnSpc>
                        <a:spcAft>
                          <a:spcPts val="800"/>
                        </a:spcAft>
                      </a:pPr>
                      <a:r>
                        <a:rPr lang="it-IT" sz="1000" dirty="0">
                          <a:effectLst/>
                          <a:latin typeface="Lora" pitchFamily="2" charset="0"/>
                        </a:rPr>
                        <a:t>Creazione di un ambiente di investimento che favorisce la liquidità</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tc>
                  <a:txBody>
                    <a:bodyPr/>
                    <a:lstStyle/>
                    <a:p>
                      <a:pPr algn="ctr">
                        <a:lnSpc>
                          <a:spcPct val="100000"/>
                        </a:lnSpc>
                        <a:spcAft>
                          <a:spcPts val="800"/>
                        </a:spcAft>
                      </a:pPr>
                      <a:r>
                        <a:rPr lang="it-IT" sz="1000" b="1" dirty="0">
                          <a:effectLst/>
                          <a:latin typeface="Lora" pitchFamily="2" charset="0"/>
                        </a:rPr>
                        <a:t>Liquidità</a:t>
                      </a:r>
                    </a:p>
                    <a:p>
                      <a:pPr algn="just">
                        <a:lnSpc>
                          <a:spcPct val="100000"/>
                        </a:lnSpc>
                        <a:spcAft>
                          <a:spcPts val="800"/>
                        </a:spcAft>
                      </a:pPr>
                      <a:r>
                        <a:rPr lang="it-IT" sz="1000" dirty="0">
                          <a:effectLst/>
                          <a:latin typeface="Lora" pitchFamily="2" charset="0"/>
                        </a:rPr>
                        <a:t>Facile e rapido smobilizzo degli asset</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extLst>
                  <a:ext uri="{0D108BD9-81ED-4DB2-BD59-A6C34878D82A}">
                    <a16:rowId xmlns:a16="http://schemas.microsoft.com/office/drawing/2014/main" val="2525903535"/>
                  </a:ext>
                </a:extLst>
              </a:tr>
              <a:tr h="398572">
                <a:tc vMerge="1">
                  <a:txBody>
                    <a:bodyPr/>
                    <a:lstStyle/>
                    <a:p>
                      <a:endParaRPr lang="it-IT"/>
                    </a:p>
                  </a:txBody>
                  <a:tcPr/>
                </a:tc>
                <a:tc>
                  <a:txBody>
                    <a:bodyPr/>
                    <a:lstStyle/>
                    <a:p>
                      <a:pPr algn="ctr">
                        <a:lnSpc>
                          <a:spcPct val="100000"/>
                        </a:lnSpc>
                        <a:spcAft>
                          <a:spcPts val="800"/>
                        </a:spcAft>
                      </a:pPr>
                      <a:r>
                        <a:rPr lang="it-IT" sz="1000" b="1" dirty="0">
                          <a:effectLst/>
                          <a:latin typeface="Lora" pitchFamily="2" charset="0"/>
                        </a:rPr>
                        <a:t>Governance</a:t>
                      </a:r>
                    </a:p>
                    <a:p>
                      <a:pPr algn="just">
                        <a:lnSpc>
                          <a:spcPct val="100000"/>
                        </a:lnSpc>
                        <a:spcAft>
                          <a:spcPts val="800"/>
                        </a:spcAft>
                      </a:pPr>
                      <a:r>
                        <a:rPr lang="it-IT" sz="1000" dirty="0">
                          <a:effectLst/>
                          <a:latin typeface="Lora" pitchFamily="2" charset="0"/>
                        </a:rPr>
                        <a:t>Minimizzazione dei costi di agenzia dal momento che è il singolo a decidere dove investire, non i fund manager</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tc>
                  <a:txBody>
                    <a:bodyPr/>
                    <a:lstStyle/>
                    <a:p>
                      <a:pPr algn="ctr">
                        <a:lnSpc>
                          <a:spcPct val="100000"/>
                        </a:lnSpc>
                        <a:spcAft>
                          <a:spcPts val="800"/>
                        </a:spcAft>
                      </a:pPr>
                      <a:r>
                        <a:rPr lang="it-IT" sz="1000" b="1" dirty="0">
                          <a:effectLst/>
                          <a:latin typeface="Lora" pitchFamily="2" charset="0"/>
                        </a:rPr>
                        <a:t>Accessibilità</a:t>
                      </a:r>
                    </a:p>
                    <a:p>
                      <a:pPr algn="just">
                        <a:lnSpc>
                          <a:spcPct val="100000"/>
                        </a:lnSpc>
                        <a:spcAft>
                          <a:spcPts val="800"/>
                        </a:spcAft>
                      </a:pPr>
                      <a:r>
                        <a:rPr lang="it-IT" sz="1000" dirty="0">
                          <a:effectLst/>
                          <a:latin typeface="Lora" pitchFamily="2" charset="0"/>
                        </a:rPr>
                        <a:t>Attrazione di nuove tipologie di investitori e capitali</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extLst>
                  <a:ext uri="{0D108BD9-81ED-4DB2-BD59-A6C34878D82A}">
                    <a16:rowId xmlns:a16="http://schemas.microsoft.com/office/drawing/2014/main" val="1979827568"/>
                  </a:ext>
                </a:extLst>
              </a:tr>
              <a:tr h="398572">
                <a:tc vMerge="1">
                  <a:txBody>
                    <a:bodyPr/>
                    <a:lstStyle/>
                    <a:p>
                      <a:endParaRPr lang="it-IT"/>
                    </a:p>
                  </a:txBody>
                  <a:tcPr/>
                </a:tc>
                <a:tc>
                  <a:txBody>
                    <a:bodyPr/>
                    <a:lstStyle/>
                    <a:p>
                      <a:pPr algn="ctr">
                        <a:lnSpc>
                          <a:spcPct val="100000"/>
                        </a:lnSpc>
                        <a:spcAft>
                          <a:spcPts val="800"/>
                        </a:spcAft>
                      </a:pPr>
                      <a:r>
                        <a:rPr lang="it-IT" sz="1000" b="1" dirty="0">
                          <a:effectLst/>
                          <a:latin typeface="Lora" pitchFamily="2" charset="0"/>
                        </a:rPr>
                        <a:t>Costi</a:t>
                      </a:r>
                    </a:p>
                    <a:p>
                      <a:pPr algn="just">
                        <a:lnSpc>
                          <a:spcPct val="100000"/>
                        </a:lnSpc>
                        <a:spcAft>
                          <a:spcPts val="800"/>
                        </a:spcAft>
                      </a:pPr>
                      <a:r>
                        <a:rPr lang="it-IT" sz="1000" dirty="0">
                          <a:effectLst/>
                          <a:latin typeface="Lora" pitchFamily="2" charset="0"/>
                        </a:rPr>
                        <a:t>Diminuzione delle </a:t>
                      </a:r>
                      <a:r>
                        <a:rPr lang="it-IT" sz="1000" dirty="0" err="1">
                          <a:effectLst/>
                          <a:latin typeface="Lora" pitchFamily="2" charset="0"/>
                        </a:rPr>
                        <a:t>fee</a:t>
                      </a:r>
                      <a:r>
                        <a:rPr lang="it-IT" sz="1000" dirty="0">
                          <a:effectLst/>
                          <a:latin typeface="Lora" pitchFamily="2" charset="0"/>
                        </a:rPr>
                        <a:t> pagate dagli investitori dal momento che si elimina una grande parte dei costi operativi dei fondi di investimento</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tc>
                  <a:txBody>
                    <a:bodyPr/>
                    <a:lstStyle/>
                    <a:p>
                      <a:pPr algn="ctr">
                        <a:lnSpc>
                          <a:spcPct val="100000"/>
                        </a:lnSpc>
                        <a:spcAft>
                          <a:spcPts val="800"/>
                        </a:spcAft>
                      </a:pPr>
                      <a:r>
                        <a:rPr lang="it-IT" sz="1000" b="1" dirty="0">
                          <a:effectLst/>
                          <a:latin typeface="Lora" pitchFamily="2" charset="0"/>
                        </a:rPr>
                        <a:t>Costi</a:t>
                      </a:r>
                    </a:p>
                    <a:p>
                      <a:pPr algn="just">
                        <a:lnSpc>
                          <a:spcPct val="100000"/>
                        </a:lnSpc>
                        <a:spcAft>
                          <a:spcPts val="800"/>
                        </a:spcAft>
                      </a:pPr>
                      <a:r>
                        <a:rPr lang="it-IT" sz="1000" dirty="0">
                          <a:effectLst/>
                          <a:latin typeface="Lora" pitchFamily="2" charset="0"/>
                        </a:rPr>
                        <a:t>Totale eliminazione dei costi di transazione</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extLst>
                  <a:ext uri="{0D108BD9-81ED-4DB2-BD59-A6C34878D82A}">
                    <a16:rowId xmlns:a16="http://schemas.microsoft.com/office/drawing/2014/main" val="903739725"/>
                  </a:ext>
                </a:extLst>
              </a:tr>
              <a:tr h="398572">
                <a:tc rowSpan="3">
                  <a:txBody>
                    <a:bodyPr/>
                    <a:lstStyle/>
                    <a:p>
                      <a:pPr algn="ctr">
                        <a:lnSpc>
                          <a:spcPct val="150000"/>
                        </a:lnSpc>
                        <a:spcAft>
                          <a:spcPts val="800"/>
                        </a:spcAft>
                      </a:pPr>
                      <a:r>
                        <a:rPr lang="en-US" sz="1200" dirty="0">
                          <a:effectLst/>
                          <a:latin typeface="Lora" pitchFamily="2" charset="0"/>
                        </a:rPr>
                        <a:t>CONS</a:t>
                      </a:r>
                      <a:endParaRPr lang="it-IT" sz="1200" dirty="0">
                        <a:effectLst/>
                        <a:latin typeface="Lora" pitchFamily="2" charset="0"/>
                        <a:ea typeface="Calibri" panose="020F0502020204030204" pitchFamily="34" charset="0"/>
                        <a:cs typeface="Times New Roman" panose="02020603050405020304" pitchFamily="18" charset="0"/>
                      </a:endParaRPr>
                    </a:p>
                  </a:txBody>
                  <a:tcPr marL="28506" marR="28506" marT="0" marB="0" anchor="ctr">
                    <a:solidFill>
                      <a:srgbClr val="002F56"/>
                    </a:solidFill>
                  </a:tcPr>
                </a:tc>
                <a:tc>
                  <a:txBody>
                    <a:bodyPr/>
                    <a:lstStyle/>
                    <a:p>
                      <a:pPr algn="ctr">
                        <a:lnSpc>
                          <a:spcPct val="100000"/>
                        </a:lnSpc>
                        <a:spcAft>
                          <a:spcPts val="800"/>
                        </a:spcAft>
                      </a:pPr>
                      <a:r>
                        <a:rPr lang="it-IT" sz="1000" b="1" dirty="0">
                          <a:effectLst/>
                          <a:latin typeface="Lora" pitchFamily="2" charset="0"/>
                        </a:rPr>
                        <a:t>Domanda</a:t>
                      </a:r>
                    </a:p>
                    <a:p>
                      <a:pPr algn="just">
                        <a:lnSpc>
                          <a:spcPct val="100000"/>
                        </a:lnSpc>
                        <a:spcAft>
                          <a:spcPts val="800"/>
                        </a:spcAft>
                      </a:pPr>
                      <a:r>
                        <a:rPr lang="it-IT" sz="1000" dirty="0">
                          <a:effectLst/>
                          <a:latin typeface="Lora" pitchFamily="2" charset="0"/>
                        </a:rPr>
                        <a:t>Al momento vi è una domanda esigua per asset </a:t>
                      </a:r>
                      <a:r>
                        <a:rPr lang="it-IT" sz="1000" dirty="0" err="1">
                          <a:effectLst/>
                          <a:latin typeface="Lora" pitchFamily="2" charset="0"/>
                        </a:rPr>
                        <a:t>frazionalizzati</a:t>
                      </a:r>
                      <a:r>
                        <a:rPr lang="it-IT" sz="1000" dirty="0">
                          <a:effectLst/>
                          <a:latin typeface="Lora" pitchFamily="2" charset="0"/>
                        </a:rPr>
                        <a:t> dal momento che si tratta di una nuova opportunità e quindi è poco conosciuta</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tc>
                  <a:txBody>
                    <a:bodyPr/>
                    <a:lstStyle/>
                    <a:p>
                      <a:pPr algn="ctr">
                        <a:lnSpc>
                          <a:spcPct val="100000"/>
                        </a:lnSpc>
                        <a:spcAft>
                          <a:spcPts val="800"/>
                        </a:spcAft>
                      </a:pPr>
                      <a:r>
                        <a:rPr lang="it-IT" sz="1000" b="1" dirty="0">
                          <a:effectLst/>
                          <a:latin typeface="Lora" pitchFamily="2" charset="0"/>
                        </a:rPr>
                        <a:t>Proprietà</a:t>
                      </a:r>
                    </a:p>
                    <a:p>
                      <a:pPr algn="just">
                        <a:lnSpc>
                          <a:spcPct val="100000"/>
                        </a:lnSpc>
                        <a:spcAft>
                          <a:spcPts val="800"/>
                        </a:spcAft>
                      </a:pPr>
                      <a:r>
                        <a:rPr lang="it-IT" sz="1000" dirty="0">
                          <a:effectLst/>
                          <a:latin typeface="Lora" pitchFamily="2" charset="0"/>
                        </a:rPr>
                        <a:t>A seconda del mezzo di </a:t>
                      </a:r>
                      <a:r>
                        <a:rPr lang="it-IT" sz="1000" dirty="0" err="1">
                          <a:effectLst/>
                          <a:latin typeface="Lora" pitchFamily="2" charset="0"/>
                        </a:rPr>
                        <a:t>frazionalizzazione</a:t>
                      </a:r>
                      <a:r>
                        <a:rPr lang="it-IT" sz="1000" dirty="0">
                          <a:effectLst/>
                          <a:latin typeface="Lora" pitchFamily="2" charset="0"/>
                        </a:rPr>
                        <a:t> scelto, la proprietà dell’immobile potrebbe essere/non essere trasferita</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extLst>
                  <a:ext uri="{0D108BD9-81ED-4DB2-BD59-A6C34878D82A}">
                    <a16:rowId xmlns:a16="http://schemas.microsoft.com/office/drawing/2014/main" val="1161781830"/>
                  </a:ext>
                </a:extLst>
              </a:tr>
              <a:tr h="622768">
                <a:tc vMerge="1">
                  <a:txBody>
                    <a:bodyPr/>
                    <a:lstStyle/>
                    <a:p>
                      <a:endParaRPr lang="it-IT"/>
                    </a:p>
                  </a:txBody>
                  <a:tcPr/>
                </a:tc>
                <a:tc>
                  <a:txBody>
                    <a:bodyPr/>
                    <a:lstStyle/>
                    <a:p>
                      <a:pPr algn="ctr">
                        <a:lnSpc>
                          <a:spcPct val="100000"/>
                        </a:lnSpc>
                        <a:spcAft>
                          <a:spcPts val="800"/>
                        </a:spcAft>
                      </a:pPr>
                      <a:r>
                        <a:rPr lang="it-IT" sz="1000" b="1" dirty="0">
                          <a:effectLst/>
                          <a:latin typeface="Lora" pitchFamily="2" charset="0"/>
                        </a:rPr>
                        <a:t>Finanziamento</a:t>
                      </a:r>
                    </a:p>
                    <a:p>
                      <a:pPr algn="just">
                        <a:lnSpc>
                          <a:spcPct val="100000"/>
                        </a:lnSpc>
                        <a:spcAft>
                          <a:spcPts val="800"/>
                        </a:spcAft>
                      </a:pPr>
                      <a:r>
                        <a:rPr lang="it-IT" sz="1000" dirty="0">
                          <a:effectLst/>
                          <a:latin typeface="Lora" pitchFamily="2" charset="0"/>
                        </a:rPr>
                        <a:t>A seconda di come si </a:t>
                      </a:r>
                      <a:r>
                        <a:rPr lang="it-IT" sz="1000" dirty="0" err="1">
                          <a:effectLst/>
                          <a:latin typeface="Lora" pitchFamily="2" charset="0"/>
                        </a:rPr>
                        <a:t>frazionalizzano</a:t>
                      </a:r>
                      <a:r>
                        <a:rPr lang="it-IT" sz="1000" dirty="0">
                          <a:effectLst/>
                          <a:latin typeface="Lora" pitchFamily="2" charset="0"/>
                        </a:rPr>
                        <a:t> gli asset, le quote potrebbero essere/non essere accettate come garanzia per debiti finanziari (ad esempio i </a:t>
                      </a:r>
                      <a:r>
                        <a:rPr lang="it-IT" sz="1000" dirty="0" err="1">
                          <a:effectLst/>
                          <a:latin typeface="Lora" pitchFamily="2" charset="0"/>
                        </a:rPr>
                        <a:t>beneficial</a:t>
                      </a:r>
                      <a:r>
                        <a:rPr lang="it-IT" sz="1000" dirty="0">
                          <a:effectLst/>
                          <a:latin typeface="Lora" pitchFamily="2" charset="0"/>
                        </a:rPr>
                        <a:t> </a:t>
                      </a:r>
                      <a:r>
                        <a:rPr lang="it-IT" sz="1000" dirty="0" err="1">
                          <a:effectLst/>
                          <a:latin typeface="Lora" pitchFamily="2" charset="0"/>
                        </a:rPr>
                        <a:t>interests</a:t>
                      </a:r>
                      <a:r>
                        <a:rPr lang="it-IT" sz="1000" dirty="0">
                          <a:effectLst/>
                          <a:latin typeface="Lora" pitchFamily="2" charset="0"/>
                        </a:rPr>
                        <a:t> in un Trust non sono considerati degli asset validi a garanzia di un debito)</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tc>
                  <a:txBody>
                    <a:bodyPr/>
                    <a:lstStyle/>
                    <a:p>
                      <a:pPr algn="ctr">
                        <a:lnSpc>
                          <a:spcPct val="100000"/>
                        </a:lnSpc>
                        <a:spcAft>
                          <a:spcPts val="800"/>
                        </a:spcAft>
                      </a:pPr>
                      <a:r>
                        <a:rPr lang="it-IT" sz="1000" b="1" dirty="0">
                          <a:effectLst/>
                          <a:latin typeface="Lora" pitchFamily="2" charset="0"/>
                        </a:rPr>
                        <a:t>Regolamentazione</a:t>
                      </a:r>
                    </a:p>
                    <a:p>
                      <a:pPr algn="just">
                        <a:lnSpc>
                          <a:spcPct val="100000"/>
                        </a:lnSpc>
                        <a:spcAft>
                          <a:spcPts val="800"/>
                        </a:spcAft>
                      </a:pPr>
                      <a:r>
                        <a:rPr lang="it-IT" sz="1000" dirty="0">
                          <a:effectLst/>
                          <a:latin typeface="Lora" pitchFamily="2" charset="0"/>
                        </a:rPr>
                        <a:t>Alto rischio regolatorio, rischio che questa nuova metodologia di investimento venga fraintesa e penalizzata dal legislatore</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extLst>
                  <a:ext uri="{0D108BD9-81ED-4DB2-BD59-A6C34878D82A}">
                    <a16:rowId xmlns:a16="http://schemas.microsoft.com/office/drawing/2014/main" val="2083950848"/>
                  </a:ext>
                </a:extLst>
              </a:tr>
              <a:tr h="398572">
                <a:tc vMerge="1">
                  <a:txBody>
                    <a:bodyPr/>
                    <a:lstStyle/>
                    <a:p>
                      <a:endParaRPr lang="it-IT"/>
                    </a:p>
                  </a:txBody>
                  <a:tcPr/>
                </a:tc>
                <a:tc>
                  <a:txBody>
                    <a:bodyPr/>
                    <a:lstStyle/>
                    <a:p>
                      <a:pPr algn="ctr">
                        <a:lnSpc>
                          <a:spcPct val="100000"/>
                        </a:lnSpc>
                        <a:spcAft>
                          <a:spcPts val="800"/>
                        </a:spcAft>
                      </a:pPr>
                      <a:r>
                        <a:rPr lang="it-IT" sz="1000" b="1" dirty="0">
                          <a:effectLst/>
                          <a:latin typeface="Lora" pitchFamily="2" charset="0"/>
                        </a:rPr>
                        <a:t>Mercato</a:t>
                      </a:r>
                      <a:r>
                        <a:rPr lang="it-IT" sz="1000" dirty="0">
                          <a:effectLst/>
                          <a:latin typeface="Lora" pitchFamily="2" charset="0"/>
                        </a:rPr>
                        <a:t> </a:t>
                      </a:r>
                      <a:r>
                        <a:rPr lang="it-IT" sz="1000" b="1" dirty="0">
                          <a:effectLst/>
                          <a:latin typeface="Lora" pitchFamily="2" charset="0"/>
                        </a:rPr>
                        <a:t>secondario</a:t>
                      </a:r>
                    </a:p>
                    <a:p>
                      <a:pPr algn="just">
                        <a:lnSpc>
                          <a:spcPct val="100000"/>
                        </a:lnSpc>
                        <a:spcAft>
                          <a:spcPts val="800"/>
                        </a:spcAft>
                      </a:pPr>
                      <a:r>
                        <a:rPr lang="it-IT" sz="1000" dirty="0">
                          <a:effectLst/>
                          <a:latin typeface="Lora" pitchFamily="2" charset="0"/>
                        </a:rPr>
                        <a:t>In un mercato secondario le quote degli asset sarebbero continuamente soggette ad un’alta volatilità</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tc>
                  <a:txBody>
                    <a:bodyPr/>
                    <a:lstStyle/>
                    <a:p>
                      <a:pPr algn="ctr">
                        <a:lnSpc>
                          <a:spcPct val="100000"/>
                        </a:lnSpc>
                        <a:spcAft>
                          <a:spcPts val="800"/>
                        </a:spcAft>
                      </a:pPr>
                      <a:r>
                        <a:rPr lang="it-IT" sz="1000" b="1" dirty="0">
                          <a:effectLst/>
                          <a:latin typeface="Lora" pitchFamily="2" charset="0"/>
                        </a:rPr>
                        <a:t>First </a:t>
                      </a:r>
                      <a:r>
                        <a:rPr lang="it-IT" sz="1000" b="1" dirty="0" err="1">
                          <a:effectLst/>
                          <a:latin typeface="Lora" pitchFamily="2" charset="0"/>
                        </a:rPr>
                        <a:t>mover</a:t>
                      </a:r>
                      <a:endParaRPr lang="it-IT" sz="1000" b="1" dirty="0">
                        <a:effectLst/>
                        <a:latin typeface="Lora" pitchFamily="2" charset="0"/>
                      </a:endParaRPr>
                    </a:p>
                    <a:p>
                      <a:pPr algn="just">
                        <a:lnSpc>
                          <a:spcPct val="100000"/>
                        </a:lnSpc>
                        <a:spcAft>
                          <a:spcPts val="800"/>
                        </a:spcAft>
                      </a:pPr>
                      <a:r>
                        <a:rPr lang="it-IT" sz="1000" dirty="0">
                          <a:effectLst/>
                          <a:latin typeface="Lora" pitchFamily="2" charset="0"/>
                        </a:rPr>
                        <a:t>Svantaggio di essere i primi a dover adottare una nuova tecnica di investimento, assumendo quindi tutti i rischi del caso</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extLst>
                  <a:ext uri="{0D108BD9-81ED-4DB2-BD59-A6C34878D82A}">
                    <a16:rowId xmlns:a16="http://schemas.microsoft.com/office/drawing/2014/main" val="211214911"/>
                  </a:ext>
                </a:extLst>
              </a:tr>
            </a:tbl>
          </a:graphicData>
        </a:graphic>
      </p:graphicFrame>
    </p:spTree>
    <p:extLst>
      <p:ext uri="{BB962C8B-B14F-4D97-AF65-F5344CB8AC3E}">
        <p14:creationId xmlns:p14="http://schemas.microsoft.com/office/powerpoint/2010/main" val="11616355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B74E3A54-3CC4-4C2C-ABBF-827A16C724A6}" type="datetime1">
              <a:rPr lang="it-IT" sz="1000" smtClean="0">
                <a:latin typeface="Lora" pitchFamily="2" charset="0"/>
                <a:ea typeface="Inter" panose="02000503000000020004" pitchFamily="2" charset="0"/>
              </a:rPr>
              <a:t>15/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8</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535921" y="897903"/>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b">
            <a:noAutofit/>
          </a:bodyPr>
          <a:lstStyle/>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Storicamente i derivati sono stati costruiti su indici misti </a:t>
            </a:r>
            <a:r>
              <a:rPr lang="it-IT" sz="1600" dirty="0" err="1">
                <a:solidFill>
                  <a:schemeClr val="tx1"/>
                </a:solidFill>
                <a:latin typeface="Lora" pitchFamily="2" charset="0"/>
                <a:ea typeface="Inter" panose="02000503000000020004" pitchFamily="2" charset="0"/>
              </a:rPr>
              <a:t>transaction</a:t>
            </a:r>
            <a:r>
              <a:rPr lang="it-IT" sz="1600" dirty="0">
                <a:solidFill>
                  <a:schemeClr val="tx1"/>
                </a:solidFill>
                <a:latin typeface="Lora" pitchFamily="2" charset="0"/>
                <a:ea typeface="Inter" panose="02000503000000020004" pitchFamily="2" charset="0"/>
              </a:rPr>
              <a:t>/</a:t>
            </a:r>
            <a:r>
              <a:rPr lang="it-IT" sz="1600" dirty="0" err="1">
                <a:solidFill>
                  <a:schemeClr val="tx1"/>
                </a:solidFill>
                <a:latin typeface="Lora" pitchFamily="2" charset="0"/>
                <a:ea typeface="Inter" panose="02000503000000020004" pitchFamily="2" charset="0"/>
              </a:rPr>
              <a:t>appraisal</a:t>
            </a:r>
            <a:r>
              <a:rPr lang="it-IT" sz="1600" dirty="0">
                <a:solidFill>
                  <a:schemeClr val="tx1"/>
                </a:solidFill>
                <a:latin typeface="Lora" pitchFamily="2" charset="0"/>
                <a:ea typeface="Inter" panose="02000503000000020004" pitchFamily="2" charset="0"/>
              </a:rPr>
              <a:t> </a:t>
            </a:r>
            <a:r>
              <a:rPr lang="it-IT" sz="1600" dirty="0" err="1">
                <a:solidFill>
                  <a:schemeClr val="tx1"/>
                </a:solidFill>
                <a:latin typeface="Lora" pitchFamily="2" charset="0"/>
                <a:ea typeface="Inter" panose="02000503000000020004" pitchFamily="2" charset="0"/>
              </a:rPr>
              <a:t>based</a:t>
            </a:r>
            <a:r>
              <a:rPr lang="it-IT" sz="1600" dirty="0">
                <a:solidFill>
                  <a:schemeClr val="tx1"/>
                </a:solidFill>
                <a:latin typeface="Lora" pitchFamily="2" charset="0"/>
                <a:ea typeface="Inter" panose="02000503000000020004" pitchFamily="2" charset="0"/>
              </a:rPr>
              <a:t>.</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Anche gli indici puramente </a:t>
            </a:r>
            <a:r>
              <a:rPr lang="it-IT" sz="1600" dirty="0" err="1">
                <a:solidFill>
                  <a:schemeClr val="tx1"/>
                </a:solidFill>
                <a:latin typeface="Lora" pitchFamily="2" charset="0"/>
                <a:ea typeface="Inter" panose="02000503000000020004" pitchFamily="2" charset="0"/>
              </a:rPr>
              <a:t>transaction-based</a:t>
            </a:r>
            <a:r>
              <a:rPr lang="it-IT" sz="1600" dirty="0">
                <a:solidFill>
                  <a:schemeClr val="tx1"/>
                </a:solidFill>
                <a:latin typeface="Lora" pitchFamily="2" charset="0"/>
                <a:ea typeface="Inter" panose="02000503000000020004" pitchFamily="2" charset="0"/>
              </a:rPr>
              <a:t> hanno frequenza quantomeno mensile</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La </a:t>
            </a:r>
            <a:r>
              <a:rPr lang="it-IT" sz="1600" dirty="0" err="1">
                <a:solidFill>
                  <a:schemeClr val="tx1"/>
                </a:solidFill>
                <a:latin typeface="Lora" pitchFamily="2" charset="0"/>
                <a:ea typeface="Inter" panose="02000503000000020004" pitchFamily="2" charset="0"/>
              </a:rPr>
              <a:t>frazionalizzazione</a:t>
            </a:r>
            <a:r>
              <a:rPr lang="it-IT" sz="1600" dirty="0">
                <a:solidFill>
                  <a:schemeClr val="tx1"/>
                </a:solidFill>
                <a:latin typeface="Lora" pitchFamily="2" charset="0"/>
                <a:ea typeface="Inter" panose="02000503000000020004" pitchFamily="2" charset="0"/>
              </a:rPr>
              <a:t> permetterebbe di costruire indici con sottostante singole unità immobiliari a frequenza giornaliera</a:t>
            </a:r>
          </a:p>
        </p:txBody>
      </p:sp>
      <p:sp>
        <p:nvSpPr>
          <p:cNvPr id="16" name="Rectangle 15">
            <a:extLst>
              <a:ext uri="{FF2B5EF4-FFF2-40B4-BE49-F238E27FC236}">
                <a16:creationId xmlns:a16="http://schemas.microsoft.com/office/drawing/2014/main" id="{6A1D0711-6C04-41FE-8C4D-618851F6D4CD}"/>
              </a:ext>
            </a:extLst>
          </p:cNvPr>
          <p:cNvSpPr/>
          <p:nvPr/>
        </p:nvSpPr>
        <p:spPr>
          <a:xfrm>
            <a:off x="6111711" y="537328"/>
            <a:ext cx="5030771" cy="5062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algn="ctr"/>
            <a:r>
              <a:rPr lang="it-IT" sz="2400" b="1" dirty="0">
                <a:solidFill>
                  <a:schemeClr val="tx1"/>
                </a:solidFill>
                <a:latin typeface="Lora" pitchFamily="2" charset="0"/>
                <a:ea typeface="Inter" panose="02000503000000020004" pitchFamily="2" charset="0"/>
              </a:rPr>
              <a:t>Prezzo di un contratto Futures</a:t>
            </a:r>
          </a:p>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r>
              <a:rPr lang="it-IT" sz="1400" dirty="0">
                <a:solidFill>
                  <a:schemeClr val="tx1"/>
                </a:solidFill>
                <a:latin typeface="Lora" pitchFamily="2" charset="0"/>
                <a:ea typeface="Inter" panose="02000503000000020004" pitchFamily="2" charset="0"/>
              </a:rPr>
              <a:t>Dove:</a:t>
            </a:r>
          </a:p>
          <a:p>
            <a:pPr marL="285750" indent="-285750">
              <a:buFont typeface="Arial" panose="020B0604020202020204" pitchFamily="34" charset="0"/>
              <a:buChar char="•"/>
            </a:pPr>
            <a:r>
              <a:rPr lang="it-IT" sz="1400" dirty="0">
                <a:solidFill>
                  <a:schemeClr val="tx1"/>
                </a:solidFill>
                <a:latin typeface="Lora" pitchFamily="2" charset="0"/>
                <a:ea typeface="Inter" panose="02000503000000020004" pitchFamily="2" charset="0"/>
              </a:rPr>
              <a:t>F</a:t>
            </a:r>
            <a:r>
              <a:rPr lang="it-IT" sz="1400" baseline="-25000" dirty="0">
                <a:solidFill>
                  <a:schemeClr val="tx1"/>
                </a:solidFill>
                <a:latin typeface="Lora" pitchFamily="2" charset="0"/>
                <a:ea typeface="Inter" panose="02000503000000020004" pitchFamily="2" charset="0"/>
              </a:rPr>
              <a:t>t</a:t>
            </a:r>
            <a:r>
              <a:rPr lang="it-IT" sz="1400" dirty="0">
                <a:solidFill>
                  <a:schemeClr val="tx1"/>
                </a:solidFill>
                <a:latin typeface="Lora" pitchFamily="2" charset="0"/>
                <a:ea typeface="Inter" panose="02000503000000020004" pitchFamily="2" charset="0"/>
              </a:rPr>
              <a:t> prezzo teorico del contratto Futures</a:t>
            </a:r>
          </a:p>
          <a:p>
            <a:pPr marL="285750" indent="-285750">
              <a:buFont typeface="Arial" panose="020B0604020202020204" pitchFamily="34" charset="0"/>
              <a:buChar char="•"/>
            </a:pPr>
            <a:r>
              <a:rPr lang="it-IT" sz="1400" dirty="0">
                <a:solidFill>
                  <a:schemeClr val="tx1"/>
                </a:solidFill>
                <a:latin typeface="Lora" pitchFamily="2" charset="0"/>
                <a:ea typeface="Inter" panose="02000503000000020004" pitchFamily="2" charset="0"/>
              </a:rPr>
              <a:t>S</a:t>
            </a:r>
            <a:r>
              <a:rPr lang="it-IT" sz="1400" baseline="-25000" dirty="0">
                <a:solidFill>
                  <a:schemeClr val="tx1"/>
                </a:solidFill>
                <a:latin typeface="Lora" pitchFamily="2" charset="0"/>
                <a:ea typeface="Inter" panose="02000503000000020004" pitchFamily="2" charset="0"/>
              </a:rPr>
              <a:t>t</a:t>
            </a:r>
            <a:r>
              <a:rPr lang="it-IT" sz="1400" dirty="0">
                <a:solidFill>
                  <a:schemeClr val="tx1"/>
                </a:solidFill>
                <a:latin typeface="Lora" pitchFamily="2" charset="0"/>
                <a:ea typeface="Inter" panose="02000503000000020004" pitchFamily="2" charset="0"/>
              </a:rPr>
              <a:t> è il valore del sottostante al tempo t. </a:t>
            </a:r>
          </a:p>
          <a:p>
            <a:pPr marL="285750" indent="-285750">
              <a:buFont typeface="Arial" panose="020B0604020202020204" pitchFamily="34" charset="0"/>
              <a:buChar char="•"/>
            </a:pPr>
            <a:r>
              <a:rPr lang="it-IT" sz="1400" dirty="0" err="1">
                <a:solidFill>
                  <a:schemeClr val="tx1"/>
                </a:solidFill>
                <a:latin typeface="Lora" pitchFamily="2" charset="0"/>
                <a:ea typeface="Inter" panose="02000503000000020004" pitchFamily="2" charset="0"/>
              </a:rPr>
              <a:t>r</a:t>
            </a:r>
            <a:r>
              <a:rPr lang="it-IT" sz="1400" baseline="-25000" dirty="0" err="1">
                <a:solidFill>
                  <a:schemeClr val="tx1"/>
                </a:solidFill>
                <a:latin typeface="Lora" pitchFamily="2" charset="0"/>
                <a:ea typeface="Inter" panose="02000503000000020004" pitchFamily="2" charset="0"/>
              </a:rPr>
              <a:t>t</a:t>
            </a:r>
            <a:r>
              <a:rPr lang="it-IT" sz="1400" dirty="0">
                <a:solidFill>
                  <a:schemeClr val="tx1"/>
                </a:solidFill>
                <a:latin typeface="Lora" pitchFamily="2" charset="0"/>
                <a:ea typeface="Inter" panose="02000503000000020004" pitchFamily="2" charset="0"/>
              </a:rPr>
              <a:t> è il tasso risk-free</a:t>
            </a:r>
          </a:p>
          <a:p>
            <a:pPr marL="285750" indent="-285750">
              <a:buFont typeface="Arial" panose="020B0604020202020204" pitchFamily="34" charset="0"/>
              <a:buChar char="•"/>
            </a:pPr>
            <a:r>
              <a:rPr lang="it-IT" sz="1400" dirty="0">
                <a:solidFill>
                  <a:schemeClr val="tx1"/>
                </a:solidFill>
                <a:latin typeface="Lora" pitchFamily="2" charset="0"/>
                <a:ea typeface="Inter" panose="02000503000000020004" pitchFamily="2" charset="0"/>
              </a:rPr>
              <a:t>q è il dividendo</a:t>
            </a:r>
          </a:p>
          <a:p>
            <a:pPr marL="285750" indent="-285750">
              <a:buFont typeface="Arial" panose="020B0604020202020204" pitchFamily="34" charset="0"/>
              <a:buChar char="•"/>
            </a:pPr>
            <a:r>
              <a:rPr lang="it-IT" sz="1400" dirty="0">
                <a:solidFill>
                  <a:schemeClr val="tx1"/>
                </a:solidFill>
                <a:latin typeface="Lora" pitchFamily="2" charset="0"/>
                <a:ea typeface="Inter" panose="02000503000000020004" pitchFamily="2" charset="0"/>
              </a:rPr>
              <a:t>T-t è il tempo a scadenza</a:t>
            </a: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i="1" dirty="0">
              <a:solidFill>
                <a:schemeClr val="tx1"/>
              </a:solidFill>
              <a:latin typeface="Lora" pitchFamily="2" charset="0"/>
            </a:endParaRPr>
          </a:p>
          <a:p>
            <a:pPr lvl="1"/>
            <a:r>
              <a:rPr lang="it-IT" dirty="0">
                <a:solidFill>
                  <a:schemeClr val="tx1"/>
                </a:solidFill>
                <a:latin typeface="Lora" pitchFamily="2" charset="0"/>
              </a:rPr>
              <a:t>Perché i sistemi blockchain e gli strumenti derivati non sono una soluzione? (1/2)</a:t>
            </a: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F4C9C5BB-31B3-42D7-99EB-41B486E9DB33}"/>
                  </a:ext>
                </a:extLst>
              </p:cNvPr>
              <p:cNvSpPr txBox="1"/>
              <p:nvPr/>
            </p:nvSpPr>
            <p:spPr>
              <a:xfrm>
                <a:off x="7124375" y="2453967"/>
                <a:ext cx="3005442" cy="55226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it-IT" sz="2800" i="1" smtClean="0">
                              <a:solidFill>
                                <a:srgbClr val="836967"/>
                              </a:solidFill>
                              <a:latin typeface="Cambria Math" panose="02040503050406030204" pitchFamily="18" charset="0"/>
                            </a:rPr>
                          </m:ctrlPr>
                        </m:sSubPr>
                        <m:e>
                          <m:r>
                            <a:rPr lang="it-IT" sz="2800" i="1">
                              <a:latin typeface="Cambria Math" panose="02040503050406030204" pitchFamily="18" charset="0"/>
                            </a:rPr>
                            <m:t>𝐹</m:t>
                          </m:r>
                        </m:e>
                        <m:sub>
                          <m:r>
                            <a:rPr lang="it-IT" sz="2800" i="1">
                              <a:latin typeface="Cambria Math" panose="02040503050406030204" pitchFamily="18" charset="0"/>
                            </a:rPr>
                            <m:t>𝑡</m:t>
                          </m:r>
                        </m:sub>
                      </m:sSub>
                      <m:r>
                        <a:rPr lang="it-IT" sz="2800" i="0">
                          <a:latin typeface="Cambria Math" panose="02040503050406030204" pitchFamily="18" charset="0"/>
                        </a:rPr>
                        <m:t>=</m:t>
                      </m:r>
                      <m:sSub>
                        <m:sSubPr>
                          <m:ctrlPr>
                            <a:rPr lang="it-IT" sz="2800" i="1">
                              <a:solidFill>
                                <a:srgbClr val="836967"/>
                              </a:solidFill>
                              <a:latin typeface="Cambria Math" panose="02040503050406030204" pitchFamily="18" charset="0"/>
                            </a:rPr>
                          </m:ctrlPr>
                        </m:sSubPr>
                        <m:e>
                          <m:r>
                            <a:rPr lang="it-IT" sz="2800" i="1">
                              <a:latin typeface="Cambria Math" panose="02040503050406030204" pitchFamily="18" charset="0"/>
                            </a:rPr>
                            <m:t>𝑆</m:t>
                          </m:r>
                        </m:e>
                        <m:sub>
                          <m:r>
                            <a:rPr lang="it-IT" sz="2800" i="1">
                              <a:latin typeface="Cambria Math" panose="02040503050406030204" pitchFamily="18" charset="0"/>
                            </a:rPr>
                            <m:t>𝑡</m:t>
                          </m:r>
                        </m:sub>
                      </m:sSub>
                      <m:sSup>
                        <m:sSupPr>
                          <m:ctrlPr>
                            <a:rPr lang="it-IT" sz="2800" i="1">
                              <a:solidFill>
                                <a:srgbClr val="836967"/>
                              </a:solidFill>
                              <a:latin typeface="Cambria Math" panose="02040503050406030204" pitchFamily="18" charset="0"/>
                            </a:rPr>
                          </m:ctrlPr>
                        </m:sSupPr>
                        <m:e>
                          <m:r>
                            <a:rPr lang="it-IT" sz="2800" i="1">
                              <a:latin typeface="Cambria Math" panose="02040503050406030204" pitchFamily="18" charset="0"/>
                            </a:rPr>
                            <m:t>𝑒</m:t>
                          </m:r>
                        </m:e>
                        <m:sup>
                          <m:d>
                            <m:dPr>
                              <m:ctrlPr>
                                <a:rPr lang="it-IT" sz="2800" i="1">
                                  <a:latin typeface="Cambria Math" panose="02040503050406030204" pitchFamily="18" charset="0"/>
                                </a:rPr>
                              </m:ctrlPr>
                            </m:dPr>
                            <m:e>
                              <m:sSub>
                                <m:sSubPr>
                                  <m:ctrlPr>
                                    <a:rPr lang="it-IT" sz="2800" i="1">
                                      <a:solidFill>
                                        <a:srgbClr val="836967"/>
                                      </a:solidFill>
                                      <a:latin typeface="Cambria Math" panose="02040503050406030204" pitchFamily="18" charset="0"/>
                                    </a:rPr>
                                  </m:ctrlPr>
                                </m:sSubPr>
                                <m:e>
                                  <m:r>
                                    <a:rPr lang="it-IT" sz="2800" i="1">
                                      <a:latin typeface="Cambria Math" panose="02040503050406030204" pitchFamily="18" charset="0"/>
                                    </a:rPr>
                                    <m:t>𝑟</m:t>
                                  </m:r>
                                </m:e>
                                <m:sub>
                                  <m:r>
                                    <a:rPr lang="it-IT" sz="2800" i="1">
                                      <a:latin typeface="Cambria Math" panose="02040503050406030204" pitchFamily="18" charset="0"/>
                                    </a:rPr>
                                    <m:t>𝑡</m:t>
                                  </m:r>
                                </m:sub>
                              </m:sSub>
                              <m:r>
                                <a:rPr lang="it-IT" sz="2800" i="0">
                                  <a:latin typeface="Cambria Math" panose="02040503050406030204" pitchFamily="18" charset="0"/>
                                </a:rPr>
                                <m:t>−</m:t>
                              </m:r>
                              <m:r>
                                <a:rPr lang="it-IT" sz="2800" i="1">
                                  <a:latin typeface="Cambria Math" panose="02040503050406030204" pitchFamily="18" charset="0"/>
                                </a:rPr>
                                <m:t>𝑞</m:t>
                              </m:r>
                            </m:e>
                          </m:d>
                          <m:d>
                            <m:dPr>
                              <m:ctrlPr>
                                <a:rPr lang="it-IT" sz="2800" i="1">
                                  <a:latin typeface="Cambria Math" panose="02040503050406030204" pitchFamily="18" charset="0"/>
                                </a:rPr>
                              </m:ctrlPr>
                            </m:dPr>
                            <m:e>
                              <m:r>
                                <a:rPr lang="it-IT" sz="2800" i="1">
                                  <a:latin typeface="Cambria Math" panose="02040503050406030204" pitchFamily="18" charset="0"/>
                                </a:rPr>
                                <m:t>𝑇</m:t>
                              </m:r>
                              <m:r>
                                <a:rPr lang="it-IT" sz="2800" i="0">
                                  <a:latin typeface="Cambria Math" panose="02040503050406030204" pitchFamily="18" charset="0"/>
                                </a:rPr>
                                <m:t>−</m:t>
                              </m:r>
                              <m:r>
                                <a:rPr lang="it-IT" sz="2800" i="1">
                                  <a:latin typeface="Cambria Math" panose="02040503050406030204" pitchFamily="18" charset="0"/>
                                </a:rPr>
                                <m:t>𝑡</m:t>
                              </m:r>
                            </m:e>
                          </m:d>
                        </m:sup>
                      </m:sSup>
                    </m:oMath>
                  </m:oMathPara>
                </a14:m>
                <a:endParaRPr lang="it-IT" sz="2800" dirty="0"/>
              </a:p>
            </p:txBody>
          </p:sp>
        </mc:Choice>
        <mc:Fallback xmlns="">
          <p:sp>
            <p:nvSpPr>
              <p:cNvPr id="11" name="TextBox 10">
                <a:extLst>
                  <a:ext uri="{FF2B5EF4-FFF2-40B4-BE49-F238E27FC236}">
                    <a16:creationId xmlns:a16="http://schemas.microsoft.com/office/drawing/2014/main" id="{F4C9C5BB-31B3-42D7-99EB-41B486E9DB33}"/>
                  </a:ext>
                </a:extLst>
              </p:cNvPr>
              <p:cNvSpPr txBox="1">
                <a:spLocks noRot="1" noChangeAspect="1" noMove="1" noResize="1" noEditPoints="1" noAdjustHandles="1" noChangeArrowheads="1" noChangeShapeType="1" noTextEdit="1"/>
              </p:cNvSpPr>
              <p:nvPr/>
            </p:nvSpPr>
            <p:spPr>
              <a:xfrm>
                <a:off x="7124375" y="2453967"/>
                <a:ext cx="3005442" cy="552267"/>
              </a:xfrm>
              <a:prstGeom prst="rect">
                <a:avLst/>
              </a:prstGeom>
              <a:blipFill>
                <a:blip r:embed="rId6"/>
                <a:stretch>
                  <a:fillRect/>
                </a:stretch>
              </a:blipFill>
            </p:spPr>
            <p:txBody>
              <a:bodyPr/>
              <a:lstStyle/>
              <a:p>
                <a:r>
                  <a:rPr lang="it-IT">
                    <a:noFill/>
                  </a:rPr>
                  <a:t> </a:t>
                </a:r>
              </a:p>
            </p:txBody>
          </p:sp>
        </mc:Fallback>
      </mc:AlternateContent>
      <p:graphicFrame>
        <p:nvGraphicFramePr>
          <p:cNvPr id="8" name="Table 8">
            <a:extLst>
              <a:ext uri="{FF2B5EF4-FFF2-40B4-BE49-F238E27FC236}">
                <a16:creationId xmlns:a16="http://schemas.microsoft.com/office/drawing/2014/main" id="{15BAC59F-E998-4E47-8870-0FD69367A323}"/>
              </a:ext>
            </a:extLst>
          </p:cNvPr>
          <p:cNvGraphicFramePr>
            <a:graphicFrameLocks noGrp="1"/>
          </p:cNvGraphicFramePr>
          <p:nvPr>
            <p:extLst>
              <p:ext uri="{D42A27DB-BD31-4B8C-83A1-F6EECF244321}">
                <p14:modId xmlns:p14="http://schemas.microsoft.com/office/powerpoint/2010/main" val="3356525259"/>
              </p:ext>
            </p:extLst>
          </p:nvPr>
        </p:nvGraphicFramePr>
        <p:xfrm>
          <a:off x="535921" y="1663301"/>
          <a:ext cx="5281897" cy="2133600"/>
        </p:xfrm>
        <a:graphic>
          <a:graphicData uri="http://schemas.openxmlformats.org/drawingml/2006/table">
            <a:tbl>
              <a:tblPr firstRow="1" bandRow="1">
                <a:tableStyleId>{5C22544A-7EE6-4342-B048-85BDC9FD1C3A}</a:tableStyleId>
              </a:tblPr>
              <a:tblGrid>
                <a:gridCol w="1320475">
                  <a:extLst>
                    <a:ext uri="{9D8B030D-6E8A-4147-A177-3AD203B41FA5}">
                      <a16:colId xmlns:a16="http://schemas.microsoft.com/office/drawing/2014/main" val="296231903"/>
                    </a:ext>
                  </a:extLst>
                </a:gridCol>
                <a:gridCol w="711967">
                  <a:extLst>
                    <a:ext uri="{9D8B030D-6E8A-4147-A177-3AD203B41FA5}">
                      <a16:colId xmlns:a16="http://schemas.microsoft.com/office/drawing/2014/main" val="1880565898"/>
                    </a:ext>
                  </a:extLst>
                </a:gridCol>
                <a:gridCol w="1581870">
                  <a:extLst>
                    <a:ext uri="{9D8B030D-6E8A-4147-A177-3AD203B41FA5}">
                      <a16:colId xmlns:a16="http://schemas.microsoft.com/office/drawing/2014/main" val="2125101690"/>
                    </a:ext>
                  </a:extLst>
                </a:gridCol>
                <a:gridCol w="1667585">
                  <a:extLst>
                    <a:ext uri="{9D8B030D-6E8A-4147-A177-3AD203B41FA5}">
                      <a16:colId xmlns:a16="http://schemas.microsoft.com/office/drawing/2014/main" val="1971490658"/>
                    </a:ext>
                  </a:extLst>
                </a:gridCol>
              </a:tblGrid>
              <a:tr h="177735">
                <a:tc>
                  <a:txBody>
                    <a:bodyPr/>
                    <a:lstStyle/>
                    <a:p>
                      <a:r>
                        <a:rPr lang="it-IT" sz="1000" dirty="0">
                          <a:latin typeface="Lora" pitchFamily="2" charset="0"/>
                        </a:rPr>
                        <a:t>Indice (S</a:t>
                      </a:r>
                      <a:r>
                        <a:rPr lang="it-IT" sz="1000" baseline="-25000" dirty="0">
                          <a:latin typeface="Lora" pitchFamily="2" charset="0"/>
                        </a:rPr>
                        <a:t>t</a:t>
                      </a:r>
                      <a:r>
                        <a:rPr lang="it-IT" sz="1000" baseline="0" dirty="0">
                          <a:latin typeface="Lora" pitchFamily="2" charset="0"/>
                        </a:rPr>
                        <a:t>)</a:t>
                      </a:r>
                      <a:endParaRPr lang="it-IT" sz="1000" dirty="0">
                        <a:latin typeface="Lora" pitchFamily="2" charset="0"/>
                      </a:endParaRPr>
                    </a:p>
                  </a:txBody>
                  <a:tcPr>
                    <a:solidFill>
                      <a:srgbClr val="002F56"/>
                    </a:solidFill>
                  </a:tcPr>
                </a:tc>
                <a:tc>
                  <a:txBody>
                    <a:bodyPr/>
                    <a:lstStyle/>
                    <a:p>
                      <a:r>
                        <a:rPr lang="it-IT" sz="1000" dirty="0">
                          <a:latin typeface="Lora" pitchFamily="2" charset="0"/>
                        </a:rPr>
                        <a:t>Nazione</a:t>
                      </a:r>
                    </a:p>
                  </a:txBody>
                  <a:tcPr>
                    <a:solidFill>
                      <a:srgbClr val="002F56"/>
                    </a:solidFill>
                  </a:tcPr>
                </a:tc>
                <a:tc>
                  <a:txBody>
                    <a:bodyPr/>
                    <a:lstStyle/>
                    <a:p>
                      <a:r>
                        <a:rPr lang="it-IT" sz="1000" dirty="0">
                          <a:latin typeface="Lora" pitchFamily="2" charset="0"/>
                        </a:rPr>
                        <a:t>Frequenza di calcolo</a:t>
                      </a:r>
                    </a:p>
                  </a:txBody>
                  <a:tcPr>
                    <a:solidFill>
                      <a:srgbClr val="002F56"/>
                    </a:solidFill>
                  </a:tcPr>
                </a:tc>
                <a:tc>
                  <a:txBody>
                    <a:bodyPr/>
                    <a:lstStyle/>
                    <a:p>
                      <a:r>
                        <a:rPr lang="it-IT" sz="1000" dirty="0">
                          <a:latin typeface="Lora" pitchFamily="2" charset="0"/>
                        </a:rPr>
                        <a:t>Metodologia di calcolo</a:t>
                      </a:r>
                    </a:p>
                  </a:txBody>
                  <a:tcPr>
                    <a:solidFill>
                      <a:srgbClr val="002F56"/>
                    </a:solidFill>
                  </a:tcPr>
                </a:tc>
                <a:extLst>
                  <a:ext uri="{0D108BD9-81ED-4DB2-BD59-A6C34878D82A}">
                    <a16:rowId xmlns:a16="http://schemas.microsoft.com/office/drawing/2014/main" val="3507040541"/>
                  </a:ext>
                </a:extLst>
              </a:tr>
              <a:tr h="399904">
                <a:tc>
                  <a:txBody>
                    <a:bodyPr/>
                    <a:lstStyle/>
                    <a:p>
                      <a:r>
                        <a:rPr lang="en-US" sz="1000" dirty="0">
                          <a:latin typeface="Lora" pitchFamily="2" charset="0"/>
                        </a:rPr>
                        <a:t>S&amp;P/Case-Shiller U.S. National Home Price Index</a:t>
                      </a:r>
                      <a:endParaRPr lang="it-IT" sz="1000" dirty="0">
                        <a:latin typeface="Lora" pitchFamily="2" charset="0"/>
                      </a:endParaRPr>
                    </a:p>
                  </a:txBody>
                  <a:tcPr>
                    <a:noFill/>
                  </a:tcPr>
                </a:tc>
                <a:tc>
                  <a:txBody>
                    <a:bodyPr/>
                    <a:lstStyle/>
                    <a:p>
                      <a:r>
                        <a:rPr lang="it-IT" sz="1000" dirty="0">
                          <a:latin typeface="Lora" pitchFamily="2" charset="0"/>
                        </a:rPr>
                        <a:t>USA</a:t>
                      </a:r>
                    </a:p>
                  </a:txBody>
                  <a:tcPr>
                    <a:noFill/>
                  </a:tcPr>
                </a:tc>
                <a:tc>
                  <a:txBody>
                    <a:bodyPr/>
                    <a:lstStyle/>
                    <a:p>
                      <a:r>
                        <a:rPr lang="it-IT" sz="1000" dirty="0">
                          <a:latin typeface="Lora" pitchFamily="2" charset="0"/>
                        </a:rPr>
                        <a:t>Mensile</a:t>
                      </a:r>
                    </a:p>
                  </a:txBody>
                  <a:tcPr>
                    <a:noFill/>
                  </a:tcPr>
                </a:tc>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dirty="0" err="1">
                          <a:latin typeface="Lora" pitchFamily="2" charset="0"/>
                        </a:rPr>
                        <a:t>Transaction-based</a:t>
                      </a:r>
                      <a:endParaRPr lang="it-IT" sz="1000" dirty="0">
                        <a:latin typeface="Lora" pitchFamily="2" charset="0"/>
                      </a:endParaRPr>
                    </a:p>
                  </a:txBody>
                  <a:tcPr anchor="ctr">
                    <a:noFill/>
                  </a:tcPr>
                </a:tc>
                <a:extLst>
                  <a:ext uri="{0D108BD9-81ED-4DB2-BD59-A6C34878D82A}">
                    <a16:rowId xmlns:a16="http://schemas.microsoft.com/office/drawing/2014/main" val="1206735577"/>
                  </a:ext>
                </a:extLst>
              </a:tr>
              <a:tr h="399904">
                <a:tc>
                  <a:txBody>
                    <a:bodyPr/>
                    <a:lstStyle/>
                    <a:p>
                      <a:r>
                        <a:rPr lang="it-IT" sz="1000" dirty="0">
                          <a:latin typeface="Lora" pitchFamily="2" charset="0"/>
                        </a:rPr>
                        <a:t>Federal Housing Finance Agency House Price Index</a:t>
                      </a:r>
                    </a:p>
                  </a:txBody>
                  <a:tcPr>
                    <a:noFill/>
                  </a:tcPr>
                </a:tc>
                <a:tc>
                  <a:txBody>
                    <a:bodyPr/>
                    <a:lstStyle/>
                    <a:p>
                      <a:r>
                        <a:rPr lang="it-IT" sz="1000" dirty="0">
                          <a:latin typeface="Lora" pitchFamily="2" charset="0"/>
                        </a:rPr>
                        <a:t>USA</a:t>
                      </a:r>
                    </a:p>
                  </a:txBody>
                  <a:tcPr>
                    <a:noFill/>
                  </a:tcPr>
                </a:tc>
                <a:tc>
                  <a:txBody>
                    <a:bodyPr/>
                    <a:lstStyle/>
                    <a:p>
                      <a:r>
                        <a:rPr lang="it-IT" sz="1000" dirty="0">
                          <a:latin typeface="Lora" pitchFamily="2" charset="0"/>
                        </a:rPr>
                        <a:t>Mensile</a:t>
                      </a:r>
                    </a:p>
                  </a:txBody>
                  <a:tcPr>
                    <a:no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dirty="0" err="1"/>
                        <a:t>Transaction-based</a:t>
                      </a:r>
                      <a:endParaRPr lang="it-IT" dirty="0"/>
                    </a:p>
                  </a:txBody>
                  <a:tcPr/>
                </a:tc>
                <a:extLst>
                  <a:ext uri="{0D108BD9-81ED-4DB2-BD59-A6C34878D82A}">
                    <a16:rowId xmlns:a16="http://schemas.microsoft.com/office/drawing/2014/main" val="1142467430"/>
                  </a:ext>
                </a:extLst>
              </a:tr>
              <a:tr h="288820">
                <a:tc>
                  <a:txBody>
                    <a:bodyPr/>
                    <a:lstStyle/>
                    <a:p>
                      <a:r>
                        <a:rPr lang="it-IT" sz="1000" b="0" i="0" kern="1200" dirty="0">
                          <a:solidFill>
                            <a:schemeClr val="dk1"/>
                          </a:solidFill>
                          <a:effectLst/>
                          <a:latin typeface="Lora" pitchFamily="2" charset="0"/>
                          <a:ea typeface="+mn-ea"/>
                          <a:cs typeface="+mn-cs"/>
                        </a:rPr>
                        <a:t>Indice dei Prezzi delle Abitazioni</a:t>
                      </a:r>
                      <a:endParaRPr lang="it-IT" sz="1000" dirty="0">
                        <a:latin typeface="Lora" pitchFamily="2" charset="0"/>
                      </a:endParaRPr>
                    </a:p>
                  </a:txBody>
                  <a:tcPr>
                    <a:noFill/>
                  </a:tcPr>
                </a:tc>
                <a:tc>
                  <a:txBody>
                    <a:bodyPr/>
                    <a:lstStyle/>
                    <a:p>
                      <a:r>
                        <a:rPr lang="it-IT" sz="1000" dirty="0">
                          <a:latin typeface="Lora" pitchFamily="2" charset="0"/>
                        </a:rPr>
                        <a:t>Italia</a:t>
                      </a:r>
                    </a:p>
                  </a:txBody>
                  <a:tcPr>
                    <a:noFill/>
                  </a:tcPr>
                </a:tc>
                <a:tc>
                  <a:txBody>
                    <a:bodyPr/>
                    <a:lstStyle/>
                    <a:p>
                      <a:r>
                        <a:rPr lang="it-IT" sz="1000" dirty="0">
                          <a:latin typeface="Lora" pitchFamily="2" charset="0"/>
                        </a:rPr>
                        <a:t>Trimestrale</a:t>
                      </a:r>
                    </a:p>
                  </a:txBody>
                  <a:tcPr>
                    <a:no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dirty="0" err="1"/>
                        <a:t>Transaction-based</a:t>
                      </a:r>
                      <a:endParaRPr lang="it-IT" dirty="0"/>
                    </a:p>
                  </a:txBody>
                  <a:tcPr/>
                </a:tc>
                <a:extLst>
                  <a:ext uri="{0D108BD9-81ED-4DB2-BD59-A6C34878D82A}">
                    <a16:rowId xmlns:a16="http://schemas.microsoft.com/office/drawing/2014/main" val="3811810343"/>
                  </a:ext>
                </a:extLst>
              </a:tr>
              <a:tr h="288820">
                <a:tc>
                  <a:txBody>
                    <a:bodyPr/>
                    <a:lstStyle/>
                    <a:p>
                      <a:r>
                        <a:rPr lang="it-IT" sz="1000" dirty="0">
                          <a:latin typeface="Lora" pitchFamily="2" charset="0"/>
                        </a:rPr>
                        <a:t>UK House Price Index</a:t>
                      </a:r>
                    </a:p>
                  </a:txBody>
                  <a:tcPr>
                    <a:noFill/>
                  </a:tcPr>
                </a:tc>
                <a:tc>
                  <a:txBody>
                    <a:bodyPr/>
                    <a:lstStyle/>
                    <a:p>
                      <a:r>
                        <a:rPr lang="it-IT" sz="1000" dirty="0">
                          <a:latin typeface="Lora" pitchFamily="2" charset="0"/>
                        </a:rPr>
                        <a:t>UK</a:t>
                      </a:r>
                    </a:p>
                  </a:txBody>
                  <a:tcPr>
                    <a:noFill/>
                  </a:tcPr>
                </a:tc>
                <a:tc>
                  <a:txBody>
                    <a:bodyPr/>
                    <a:lstStyle/>
                    <a:p>
                      <a:r>
                        <a:rPr lang="it-IT" sz="1000" dirty="0">
                          <a:latin typeface="Lora" pitchFamily="2" charset="0"/>
                        </a:rPr>
                        <a:t>Mensile</a:t>
                      </a:r>
                    </a:p>
                  </a:txBody>
                  <a:tcPr>
                    <a:noFill/>
                  </a:tcPr>
                </a:tc>
                <a:tc vMerge="1">
                  <a:txBody>
                    <a:bodyPr/>
                    <a:lstStyle/>
                    <a:p>
                      <a:r>
                        <a:rPr lang="it-IT" dirty="0" err="1"/>
                        <a:t>Transaction-based</a:t>
                      </a:r>
                      <a:endParaRPr lang="it-IT" dirty="0"/>
                    </a:p>
                  </a:txBody>
                  <a:tcPr/>
                </a:tc>
                <a:extLst>
                  <a:ext uri="{0D108BD9-81ED-4DB2-BD59-A6C34878D82A}">
                    <a16:rowId xmlns:a16="http://schemas.microsoft.com/office/drawing/2014/main" val="4098456434"/>
                  </a:ext>
                </a:extLst>
              </a:tr>
            </a:tbl>
          </a:graphicData>
        </a:graphic>
      </p:graphicFrame>
    </p:spTree>
    <p:extLst>
      <p:ext uri="{BB962C8B-B14F-4D97-AF65-F5344CB8AC3E}">
        <p14:creationId xmlns:p14="http://schemas.microsoft.com/office/powerpoint/2010/main" val="13401149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7409A344-3E25-4C52-B3C7-378B22F6DD26}" type="datetime1">
              <a:rPr lang="it-IT" sz="1000" smtClean="0">
                <a:latin typeface="Lora" pitchFamily="2" charset="0"/>
                <a:ea typeface="Inter" panose="02000503000000020004" pitchFamily="2" charset="0"/>
              </a:rPr>
              <a:t>15/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9</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36470" y="537328"/>
            <a:ext cx="4940615"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buFont typeface="Arial" panose="020B0604020202020204" pitchFamily="34" charset="0"/>
              <a:buChar char="•"/>
            </a:pPr>
            <a:r>
              <a:rPr lang="it-IT" sz="1600" b="1" dirty="0">
                <a:solidFill>
                  <a:schemeClr val="tx1"/>
                </a:solidFill>
                <a:latin typeface="Lora" pitchFamily="2" charset="0"/>
                <a:ea typeface="Inter" panose="02000503000000020004" pitchFamily="2" charset="0"/>
              </a:rPr>
              <a:t>Connessione: </a:t>
            </a:r>
            <a:r>
              <a:rPr lang="it-IT" sz="1600" dirty="0">
                <a:solidFill>
                  <a:schemeClr val="tx1"/>
                </a:solidFill>
                <a:latin typeface="Lora" pitchFamily="2" charset="0"/>
                <a:ea typeface="Inter" panose="02000503000000020004" pitchFamily="2" charset="0"/>
              </a:rPr>
              <a:t>Off-Chain / On-Chain assets</a:t>
            </a:r>
          </a:p>
          <a:p>
            <a:pPr marL="285750" indent="-285750">
              <a:buFont typeface="Arial" panose="020B0604020202020204" pitchFamily="34" charset="0"/>
              <a:buChar char="•"/>
            </a:pPr>
            <a:r>
              <a:rPr lang="it-IT" sz="1600" b="1" dirty="0">
                <a:solidFill>
                  <a:schemeClr val="tx1"/>
                </a:solidFill>
                <a:latin typeface="Lora" pitchFamily="2" charset="0"/>
                <a:ea typeface="Inter" panose="02000503000000020004" pitchFamily="2" charset="0"/>
              </a:rPr>
              <a:t>Scalabilità: </a:t>
            </a:r>
            <a:r>
              <a:rPr lang="it-IT" sz="1600" dirty="0" err="1">
                <a:solidFill>
                  <a:schemeClr val="tx1"/>
                </a:solidFill>
                <a:latin typeface="Lora" pitchFamily="2" charset="0"/>
                <a:ea typeface="Inter" panose="02000503000000020004" pitchFamily="2" charset="0"/>
              </a:rPr>
              <a:t>Transaction</a:t>
            </a:r>
            <a:r>
              <a:rPr lang="it-IT" sz="1600" dirty="0">
                <a:solidFill>
                  <a:schemeClr val="tx1"/>
                </a:solidFill>
                <a:latin typeface="Lora" pitchFamily="2" charset="0"/>
                <a:ea typeface="Inter" panose="02000503000000020004" pitchFamily="2" charset="0"/>
              </a:rPr>
              <a:t> per second (Bitcoin 7, </a:t>
            </a:r>
            <a:r>
              <a:rPr lang="it-IT" sz="1600" dirty="0" err="1">
                <a:solidFill>
                  <a:schemeClr val="tx1"/>
                </a:solidFill>
                <a:latin typeface="Lora" pitchFamily="2" charset="0"/>
                <a:ea typeface="Inter" panose="02000503000000020004" pitchFamily="2" charset="0"/>
              </a:rPr>
              <a:t>Ripple</a:t>
            </a:r>
            <a:r>
              <a:rPr lang="it-IT" sz="1600" dirty="0">
                <a:solidFill>
                  <a:schemeClr val="tx1"/>
                </a:solidFill>
                <a:latin typeface="Lora" pitchFamily="2" charset="0"/>
                <a:ea typeface="Inter" panose="02000503000000020004" pitchFamily="2" charset="0"/>
              </a:rPr>
              <a:t> 1500, </a:t>
            </a:r>
            <a:r>
              <a:rPr lang="it-IT" sz="1600" dirty="0" err="1">
                <a:solidFill>
                  <a:schemeClr val="tx1"/>
                </a:solidFill>
                <a:latin typeface="Lora" pitchFamily="2" charset="0"/>
                <a:ea typeface="Inter" panose="02000503000000020004" pitchFamily="2" charset="0"/>
              </a:rPr>
              <a:t>Ethereum</a:t>
            </a:r>
            <a:r>
              <a:rPr lang="it-IT" sz="1600" dirty="0">
                <a:solidFill>
                  <a:schemeClr val="tx1"/>
                </a:solidFill>
                <a:latin typeface="Lora" pitchFamily="2" charset="0"/>
                <a:ea typeface="Inter" panose="02000503000000020004" pitchFamily="2" charset="0"/>
              </a:rPr>
              <a:t> 20, Visa 24.000)</a:t>
            </a:r>
          </a:p>
          <a:p>
            <a:pPr marL="285750" indent="-285750">
              <a:buFont typeface="Arial" panose="020B0604020202020204" pitchFamily="34" charset="0"/>
              <a:buChar char="•"/>
            </a:pPr>
            <a:r>
              <a:rPr lang="it-IT" sz="1600" b="1" dirty="0">
                <a:solidFill>
                  <a:schemeClr val="tx1"/>
                </a:solidFill>
                <a:latin typeface="Lora" pitchFamily="2" charset="0"/>
                <a:ea typeface="Inter" panose="02000503000000020004" pitchFamily="2" charset="0"/>
              </a:rPr>
              <a:t>Regolamentazione: </a:t>
            </a:r>
            <a:r>
              <a:rPr lang="it-IT" sz="1600" dirty="0">
                <a:solidFill>
                  <a:schemeClr val="tx1"/>
                </a:solidFill>
                <a:latin typeface="Lora" pitchFamily="2" charset="0"/>
                <a:ea typeface="Inter" panose="02000503000000020004" pitchFamily="2" charset="0"/>
              </a:rPr>
              <a:t>i token vengono paragonati alle securities in US e strumenti finanziari in Italia</a:t>
            </a:r>
            <a:endParaRPr lang="it-IT" sz="1600" b="1" dirty="0">
              <a:solidFill>
                <a:schemeClr val="tx1"/>
              </a:solidFill>
              <a:latin typeface="Lora" pitchFamily="2" charset="0"/>
              <a:ea typeface="Inter" panose="02000503000000020004" pitchFamily="2" charset="0"/>
            </a:endParaRP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i="1" dirty="0">
              <a:solidFill>
                <a:schemeClr val="tx1"/>
              </a:solidFill>
              <a:latin typeface="Lora" pitchFamily="2" charset="0"/>
            </a:endParaRPr>
          </a:p>
          <a:p>
            <a:pPr lvl="1"/>
            <a:r>
              <a:rPr lang="it-IT" dirty="0">
                <a:solidFill>
                  <a:schemeClr val="tx1"/>
                </a:solidFill>
                <a:latin typeface="Lora" pitchFamily="2" charset="0"/>
              </a:rPr>
              <a:t>Perché i sistemi blockchain e gli strumenti derivati non sono una soluzione? (2/2)</a:t>
            </a:r>
          </a:p>
        </p:txBody>
      </p:sp>
      <p:grpSp>
        <p:nvGrpSpPr>
          <p:cNvPr id="13" name="Group 12">
            <a:extLst>
              <a:ext uri="{FF2B5EF4-FFF2-40B4-BE49-F238E27FC236}">
                <a16:creationId xmlns:a16="http://schemas.microsoft.com/office/drawing/2014/main" id="{EF86E105-8149-435D-9105-1ED1B16F732C}"/>
              </a:ext>
            </a:extLst>
          </p:cNvPr>
          <p:cNvGrpSpPr/>
          <p:nvPr/>
        </p:nvGrpSpPr>
        <p:grpSpPr>
          <a:xfrm>
            <a:off x="6067240" y="1648882"/>
            <a:ext cx="5745481" cy="2839085"/>
            <a:chOff x="-1" y="0"/>
            <a:chExt cx="7034465" cy="3476669"/>
          </a:xfrm>
        </p:grpSpPr>
        <p:sp>
          <p:nvSpPr>
            <p:cNvPr id="14" name="Rectangle 13">
              <a:extLst>
                <a:ext uri="{FF2B5EF4-FFF2-40B4-BE49-F238E27FC236}">
                  <a16:creationId xmlns:a16="http://schemas.microsoft.com/office/drawing/2014/main" id="{CBE834BC-513F-4275-A974-E9B918207C6E}"/>
                </a:ext>
              </a:extLst>
            </p:cNvPr>
            <p:cNvSpPr/>
            <p:nvPr/>
          </p:nvSpPr>
          <p:spPr>
            <a:xfrm>
              <a:off x="-1" y="395011"/>
              <a:ext cx="1331495" cy="1074821"/>
            </a:xfrm>
            <a:prstGeom prst="rect">
              <a:avLst/>
            </a:prstGeom>
            <a:solidFill>
              <a:srgbClr val="002F5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r>
                <a:rPr lang="it-IT" sz="1000" kern="1200" dirty="0">
                  <a:solidFill>
                    <a:srgbClr val="FFFFFF"/>
                  </a:solidFill>
                  <a:effectLst/>
                  <a:latin typeface="Lora" pitchFamily="2" charset="0"/>
                  <a:ea typeface="Calibri" panose="020F0502020204030204" pitchFamily="34" charset="0"/>
                  <a:cs typeface="Times New Roman" panose="02020603050405020304" pitchFamily="18" charset="0"/>
                </a:rPr>
                <a:t>Asset Off-Chain</a:t>
              </a:r>
              <a:endParaRPr lang="it-IT" sz="1100" dirty="0">
                <a:effectLst/>
                <a:latin typeface="Lora" pitchFamily="2" charset="0"/>
                <a:ea typeface="Calibri" panose="020F0502020204030204" pitchFamily="34" charset="0"/>
                <a:cs typeface="Times New Roman" panose="02020603050405020304" pitchFamily="18" charset="0"/>
              </a:endParaRPr>
            </a:p>
          </p:txBody>
        </p:sp>
        <p:pic>
          <p:nvPicPr>
            <p:cNvPr id="17" name="Graphic 2" descr="Blockchain outline">
              <a:extLst>
                <a:ext uri="{FF2B5EF4-FFF2-40B4-BE49-F238E27FC236}">
                  <a16:creationId xmlns:a16="http://schemas.microsoft.com/office/drawing/2014/main" id="{73C39330-1275-418F-8987-1874EFC58BC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07106" y="122296"/>
              <a:ext cx="1620252" cy="1620252"/>
            </a:xfrm>
            <a:prstGeom prst="rect">
              <a:avLst/>
            </a:prstGeom>
          </p:spPr>
        </p:pic>
        <p:sp>
          <p:nvSpPr>
            <p:cNvPr id="18" name="Rectangle 17">
              <a:extLst>
                <a:ext uri="{FF2B5EF4-FFF2-40B4-BE49-F238E27FC236}">
                  <a16:creationId xmlns:a16="http://schemas.microsoft.com/office/drawing/2014/main" id="{F61895A8-C7CE-4CFE-83DF-F343ECE04A9B}"/>
                </a:ext>
              </a:extLst>
            </p:cNvPr>
            <p:cNvSpPr/>
            <p:nvPr/>
          </p:nvSpPr>
          <p:spPr>
            <a:xfrm>
              <a:off x="5702969" y="395011"/>
              <a:ext cx="1331495" cy="1074821"/>
            </a:xfrm>
            <a:prstGeom prst="rect">
              <a:avLst/>
            </a:prstGeom>
            <a:solidFill>
              <a:srgbClr val="002F5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r>
                <a:rPr lang="it-IT" sz="1000" kern="1200">
                  <a:solidFill>
                    <a:srgbClr val="FFFFFF"/>
                  </a:solidFill>
                  <a:effectLst/>
                  <a:latin typeface="Lora" pitchFamily="2" charset="0"/>
                  <a:ea typeface="Calibri" panose="020F0502020204030204" pitchFamily="34" charset="0"/>
                  <a:cs typeface="Times New Roman" panose="02020603050405020304" pitchFamily="18" charset="0"/>
                </a:rPr>
                <a:t>Investitori</a:t>
              </a:r>
              <a:endParaRPr lang="it-IT" sz="1100">
                <a:effectLst/>
                <a:latin typeface="Lora" pitchFamily="2" charset="0"/>
                <a:ea typeface="Calibri" panose="020F0502020204030204" pitchFamily="34" charset="0"/>
                <a:cs typeface="Times New Roman" panose="02020603050405020304" pitchFamily="18" charset="0"/>
              </a:endParaRPr>
            </a:p>
          </p:txBody>
        </p:sp>
        <p:sp>
          <p:nvSpPr>
            <p:cNvPr id="19" name="Rectangle 18">
              <a:extLst>
                <a:ext uri="{FF2B5EF4-FFF2-40B4-BE49-F238E27FC236}">
                  <a16:creationId xmlns:a16="http://schemas.microsoft.com/office/drawing/2014/main" id="{B4E2504B-EF96-4AEF-BA24-2C69156DDB5C}"/>
                </a:ext>
              </a:extLst>
            </p:cNvPr>
            <p:cNvSpPr/>
            <p:nvPr/>
          </p:nvSpPr>
          <p:spPr>
            <a:xfrm>
              <a:off x="1331495" y="2312045"/>
              <a:ext cx="1331495" cy="1074821"/>
            </a:xfrm>
            <a:prstGeom prst="rect">
              <a:avLst/>
            </a:prstGeom>
            <a:solidFill>
              <a:srgbClr val="002F5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r>
                <a:rPr lang="it-IT" sz="1000" kern="1200">
                  <a:solidFill>
                    <a:srgbClr val="FFFFFF"/>
                  </a:solidFill>
                  <a:effectLst/>
                  <a:latin typeface="Lora" pitchFamily="2" charset="0"/>
                  <a:ea typeface="Calibri" panose="020F0502020204030204" pitchFamily="34" charset="0"/>
                  <a:cs typeface="Times New Roman" panose="02020603050405020304" pitchFamily="18" charset="0"/>
                </a:rPr>
                <a:t>Custode</a:t>
              </a:r>
              <a:endParaRPr lang="it-IT" sz="1100">
                <a:effectLst/>
                <a:latin typeface="Lora" pitchFamily="2" charset="0"/>
                <a:ea typeface="Calibri" panose="020F0502020204030204" pitchFamily="34" charset="0"/>
                <a:cs typeface="Times New Roman" panose="02020603050405020304" pitchFamily="18" charset="0"/>
              </a:endParaRPr>
            </a:p>
          </p:txBody>
        </p:sp>
        <p:cxnSp>
          <p:nvCxnSpPr>
            <p:cNvPr id="20" name="Connector: Elbow 19">
              <a:extLst>
                <a:ext uri="{FF2B5EF4-FFF2-40B4-BE49-F238E27FC236}">
                  <a16:creationId xmlns:a16="http://schemas.microsoft.com/office/drawing/2014/main" id="{E1124304-CF7D-4092-A26F-D500C40344A4}"/>
                </a:ext>
              </a:extLst>
            </p:cNvPr>
            <p:cNvCxnSpPr/>
            <p:nvPr/>
          </p:nvCxnSpPr>
          <p:spPr>
            <a:xfrm rot="16200000" flipH="1">
              <a:off x="308810" y="1826770"/>
              <a:ext cx="1379622" cy="665747"/>
            </a:xfrm>
            <a:prstGeom prst="bentConnector2">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1F37BA02-A317-4932-8E8C-A56E39946DE3}"/>
                </a:ext>
              </a:extLst>
            </p:cNvPr>
            <p:cNvCxnSpPr/>
            <p:nvPr/>
          </p:nvCxnSpPr>
          <p:spPr>
            <a:xfrm rot="5400000" flipH="1" flipV="1">
              <a:off x="3224463" y="242612"/>
              <a:ext cx="1917033" cy="4371474"/>
            </a:xfrm>
            <a:prstGeom prst="bentConnector3">
              <a:avLst>
                <a:gd name="adj1" fmla="val -11925"/>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34DC7CC6-B8FF-43CC-B706-925E1A9D4F7D}"/>
                </a:ext>
              </a:extLst>
            </p:cNvPr>
            <p:cNvCxnSpPr/>
            <p:nvPr/>
          </p:nvCxnSpPr>
          <p:spPr>
            <a:xfrm flipV="1">
              <a:off x="1331495" y="932422"/>
              <a:ext cx="1375611"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359C5BEE-FB3A-4DF6-8C4D-C138C138A28D}"/>
                </a:ext>
              </a:extLst>
            </p:cNvPr>
            <p:cNvCxnSpPr>
              <a:cxnSpLocks/>
            </p:cNvCxnSpPr>
            <p:nvPr/>
          </p:nvCxnSpPr>
          <p:spPr>
            <a:xfrm>
              <a:off x="4327358" y="932422"/>
              <a:ext cx="137561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16">
              <a:extLst>
                <a:ext uri="{FF2B5EF4-FFF2-40B4-BE49-F238E27FC236}">
                  <a16:creationId xmlns:a16="http://schemas.microsoft.com/office/drawing/2014/main" id="{2C35A9A9-41A2-49A1-9FA0-3AAC314BDBC7}"/>
                </a:ext>
              </a:extLst>
            </p:cNvPr>
            <p:cNvSpPr txBox="1"/>
            <p:nvPr/>
          </p:nvSpPr>
          <p:spPr>
            <a:xfrm>
              <a:off x="1331469" y="0"/>
              <a:ext cx="1797923" cy="1390174"/>
            </a:xfrm>
            <a:prstGeom prst="rect">
              <a:avLst/>
            </a:prstGeom>
            <a:noFill/>
          </p:spPr>
          <p:txBody>
            <a:bodyPr wrap="square" rtlCol="0">
              <a:noAutofit/>
            </a:bodyPr>
            <a:lstStyle/>
            <a:p>
              <a:pPr>
                <a:lnSpc>
                  <a:spcPct val="107000"/>
                </a:lnSpc>
                <a:spcAft>
                  <a:spcPts val="800"/>
                </a:spcAft>
              </a:pPr>
              <a:r>
                <a:rPr lang="it-IT" sz="1000" kern="1200" dirty="0">
                  <a:solidFill>
                    <a:srgbClr val="000000"/>
                  </a:solidFill>
                  <a:effectLst/>
                  <a:latin typeface="Lora" pitchFamily="2" charset="0"/>
                  <a:ea typeface="Calibri" panose="020F0502020204030204" pitchFamily="34" charset="0"/>
                  <a:cs typeface="Times New Roman" panose="02020603050405020304" pitchFamily="18" charset="0"/>
                </a:rPr>
                <a:t>Vengono trascritti sul registro distribuito i dati dell’asset e dei proprietari</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25" name="TextBox 17">
              <a:extLst>
                <a:ext uri="{FF2B5EF4-FFF2-40B4-BE49-F238E27FC236}">
                  <a16:creationId xmlns:a16="http://schemas.microsoft.com/office/drawing/2014/main" id="{F972FDCF-06C4-471E-BBFF-0F86B68F95F6}"/>
                </a:ext>
              </a:extLst>
            </p:cNvPr>
            <p:cNvSpPr txBox="1"/>
            <p:nvPr/>
          </p:nvSpPr>
          <p:spPr>
            <a:xfrm>
              <a:off x="3905520" y="0"/>
              <a:ext cx="1797923" cy="1390174"/>
            </a:xfrm>
            <a:prstGeom prst="rect">
              <a:avLst/>
            </a:prstGeom>
            <a:noFill/>
          </p:spPr>
          <p:txBody>
            <a:bodyPr wrap="square" rtlCol="0">
              <a:noAutofit/>
            </a:bodyPr>
            <a:lstStyle/>
            <a:p>
              <a:pPr>
                <a:lnSpc>
                  <a:spcPct val="107000"/>
                </a:lnSpc>
                <a:spcAft>
                  <a:spcPts val="800"/>
                </a:spcAft>
              </a:pPr>
              <a:r>
                <a:rPr lang="it-IT" sz="1000" kern="1200">
                  <a:solidFill>
                    <a:srgbClr val="000000"/>
                  </a:solidFill>
                  <a:effectLst/>
                  <a:latin typeface="Lora" pitchFamily="2" charset="0"/>
                  <a:ea typeface="Calibri" panose="020F0502020204030204" pitchFamily="34" charset="0"/>
                  <a:cs typeface="Times New Roman" panose="02020603050405020304" pitchFamily="18" charset="0"/>
                </a:rPr>
                <a:t>Gli investitori ricevono i token rappresentativi della proprietà sull’asset</a:t>
              </a:r>
              <a:endParaRPr lang="it-IT" sz="1100">
                <a:effectLst/>
                <a:latin typeface="Lora" pitchFamily="2" charset="0"/>
                <a:ea typeface="Calibri" panose="020F0502020204030204" pitchFamily="34" charset="0"/>
                <a:cs typeface="Times New Roman" panose="02020603050405020304" pitchFamily="18" charset="0"/>
              </a:endParaRPr>
            </a:p>
          </p:txBody>
        </p:sp>
        <p:sp>
          <p:nvSpPr>
            <p:cNvPr id="26" name="TextBox 18">
              <a:extLst>
                <a:ext uri="{FF2B5EF4-FFF2-40B4-BE49-F238E27FC236}">
                  <a16:creationId xmlns:a16="http://schemas.microsoft.com/office/drawing/2014/main" id="{0E68DEC4-0BF6-4827-897C-7C72BD311CFD}"/>
                </a:ext>
              </a:extLst>
            </p:cNvPr>
            <p:cNvSpPr txBox="1"/>
            <p:nvPr/>
          </p:nvSpPr>
          <p:spPr>
            <a:xfrm>
              <a:off x="2707054" y="2311671"/>
              <a:ext cx="3661051" cy="1164998"/>
            </a:xfrm>
            <a:prstGeom prst="rect">
              <a:avLst/>
            </a:prstGeom>
            <a:noFill/>
          </p:spPr>
          <p:txBody>
            <a:bodyPr wrap="square" rtlCol="0">
              <a:noAutofit/>
            </a:bodyPr>
            <a:lstStyle/>
            <a:p>
              <a:pPr>
                <a:lnSpc>
                  <a:spcPct val="107000"/>
                </a:lnSpc>
                <a:spcAft>
                  <a:spcPts val="800"/>
                </a:spcAft>
              </a:pPr>
              <a:r>
                <a:rPr lang="it-IT" sz="1000" kern="1200">
                  <a:solidFill>
                    <a:srgbClr val="000000"/>
                  </a:solidFill>
                  <a:effectLst/>
                  <a:latin typeface="Lora" pitchFamily="2" charset="0"/>
                  <a:ea typeface="Calibri" panose="020F0502020204030204" pitchFamily="34" charset="0"/>
                  <a:cs typeface="Times New Roman" panose="02020603050405020304" pitchFamily="18" charset="0"/>
                </a:rPr>
                <a:t>Il custode gestisce l’asset e si assicura di mantenere aggiornato il registro distribuito con gli eventi che avvengono nel mondo Off-Chain</a:t>
              </a:r>
              <a:endParaRPr lang="it-IT" sz="1100">
                <a:effectLst/>
                <a:latin typeface="Lora" pitchFamily="2" charset="0"/>
                <a:ea typeface="Calibri" panose="020F0502020204030204" pitchFamily="34" charset="0"/>
                <a:cs typeface="Times New Roman" panose="02020603050405020304" pitchFamily="18" charset="0"/>
              </a:endParaRPr>
            </a:p>
          </p:txBody>
        </p:sp>
      </p:grpSp>
    </p:spTree>
    <p:extLst>
      <p:ext uri="{BB962C8B-B14F-4D97-AF65-F5344CB8AC3E}">
        <p14:creationId xmlns:p14="http://schemas.microsoft.com/office/powerpoint/2010/main" val="2135666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34</TotalTime>
  <Words>1933</Words>
  <Application>Microsoft Office PowerPoint</Application>
  <PresentationFormat>Widescreen</PresentationFormat>
  <Paragraphs>340</Paragraphs>
  <Slides>12</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1" baseType="lpstr">
      <vt:lpstr>Arial</vt:lpstr>
      <vt:lpstr>Calibri</vt:lpstr>
      <vt:lpstr>Calibri Light</vt:lpstr>
      <vt:lpstr>Cambria Math</vt:lpstr>
      <vt:lpstr>EYInterstate Light</vt:lpstr>
      <vt:lpstr>Lora</vt:lpstr>
      <vt:lpstr>Times New Roman</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ttore Minelli</dc:creator>
  <cp:lastModifiedBy>Ettore Minelli</cp:lastModifiedBy>
  <cp:revision>2</cp:revision>
  <dcterms:created xsi:type="dcterms:W3CDTF">2022-12-03T11:00:39Z</dcterms:created>
  <dcterms:modified xsi:type="dcterms:W3CDTF">2022-12-15T10:3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ppReportDate">
    <vt:lpwstr/>
  </property>
  <property fmtid="{D5CDD505-2E9C-101B-9397-08002B2CF9AE}" pid="3" name="WppReportVersion">
    <vt:lpwstr>Version 1.0</vt:lpwstr>
  </property>
  <property fmtid="{D5CDD505-2E9C-101B-9397-08002B2CF9AE}" pid="4" name="WppReportDraft">
    <vt:lpwstr>(Draft)</vt:lpwstr>
  </property>
  <property fmtid="{D5CDD505-2E9C-101B-9397-08002B2CF9AE}" pid="5" name="WppReportCurrencySymbol">
    <vt:lpwstr>€</vt:lpwstr>
  </property>
  <property fmtid="{D5CDD505-2E9C-101B-9397-08002B2CF9AE}" pid="6" name="WppReportDashboardTitleText">
    <vt:lpwstr>Dashboard</vt:lpwstr>
  </property>
  <property fmtid="{D5CDD505-2E9C-101B-9397-08002B2CF9AE}" pid="7" name="WppReportShortPageNumberFormat">
    <vt:lpwstr>Page &lt;#&gt;</vt:lpwstr>
  </property>
  <property fmtid="{D5CDD505-2E9C-101B-9397-08002B2CF9AE}" pid="8" name="WppReportLongPageNumberFormat">
    <vt:lpwstr>Page &lt;#&gt; of &lt;PageCount&gt;</vt:lpwstr>
  </property>
  <property fmtid="{D5CDD505-2E9C-101B-9397-08002B2CF9AE}" pid="9" name="WppReportTocTitleText">
    <vt:lpwstr>Table of contents</vt:lpwstr>
  </property>
  <property fmtid="{D5CDD505-2E9C-101B-9397-08002B2CF9AE}" pid="10" name="WppReportIsTocUpdateRecommended">
    <vt:bool>true</vt:bool>
  </property>
  <property fmtid="{D5CDD505-2E9C-101B-9397-08002B2CF9AE}" pid="11" name="WppReportPropertiesLastWrittenToDocument">
    <vt:filetime>2022-12-15T08:55:13Z</vt:filetime>
  </property>
</Properties>
</file>